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10"/>
  </p:notesMasterIdLst>
  <p:sldIdLst>
    <p:sldId id="4842" r:id="rId3"/>
    <p:sldId id="4845" r:id="rId4"/>
    <p:sldId id="4846" r:id="rId5"/>
    <p:sldId id="4844" r:id="rId6"/>
    <p:sldId id="4848" r:id="rId7"/>
    <p:sldId id="4847" r:id="rId8"/>
    <p:sldId id="4849" r:id="rId9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21B738-CC32-4BB6-8EAE-26DC65A65DE8}" v="251" dt="2021-08-17T10:31:16.5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in Falconer" userId="1a94c901-a172-40eb-8a39-4b054c25249f" providerId="ADAL" clId="{F421B738-CC32-4BB6-8EAE-26DC65A65DE8}"/>
    <pc:docChg chg="undo custSel addSld modSld sldOrd">
      <pc:chgData name="Robin Falconer" userId="1a94c901-a172-40eb-8a39-4b054c25249f" providerId="ADAL" clId="{F421B738-CC32-4BB6-8EAE-26DC65A65DE8}" dt="2021-08-17T13:55:45.302" v="3171" actId="20577"/>
      <pc:docMkLst>
        <pc:docMk/>
      </pc:docMkLst>
      <pc:sldChg chg="addSp modSp mod">
        <pc:chgData name="Robin Falconer" userId="1a94c901-a172-40eb-8a39-4b054c25249f" providerId="ADAL" clId="{F421B738-CC32-4BB6-8EAE-26DC65A65DE8}" dt="2021-08-17T09:56:15.552" v="3136" actId="208"/>
        <pc:sldMkLst>
          <pc:docMk/>
          <pc:sldMk cId="3060643170" sldId="4842"/>
        </pc:sldMkLst>
        <pc:spChg chg="add mod">
          <ac:chgData name="Robin Falconer" userId="1a94c901-a172-40eb-8a39-4b054c25249f" providerId="ADAL" clId="{F421B738-CC32-4BB6-8EAE-26DC65A65DE8}" dt="2021-08-17T09:56:15.552" v="3136" actId="208"/>
          <ac:spMkLst>
            <pc:docMk/>
            <pc:sldMk cId="3060643170" sldId="4842"/>
            <ac:spMk id="2" creationId="{9C34064E-698A-46AE-A8D3-12CA7E24EFB9}"/>
          </ac:spMkLst>
        </pc:spChg>
      </pc:sldChg>
      <pc:sldChg chg="addSp delSp modSp mod">
        <pc:chgData name="Robin Falconer" userId="1a94c901-a172-40eb-8a39-4b054c25249f" providerId="ADAL" clId="{F421B738-CC32-4BB6-8EAE-26DC65A65DE8}" dt="2021-08-17T10:29:11.949" v="3140"/>
        <pc:sldMkLst>
          <pc:docMk/>
          <pc:sldMk cId="3392829570" sldId="4844"/>
        </pc:sldMkLst>
        <pc:spChg chg="add mod">
          <ac:chgData name="Robin Falconer" userId="1a94c901-a172-40eb-8a39-4b054c25249f" providerId="ADAL" clId="{F421B738-CC32-4BB6-8EAE-26DC65A65DE8}" dt="2021-08-17T10:29:11.949" v="3140"/>
          <ac:spMkLst>
            <pc:docMk/>
            <pc:sldMk cId="3392829570" sldId="4844"/>
            <ac:spMk id="14" creationId="{557C807C-F072-4278-BBC5-2F47714BD114}"/>
          </ac:spMkLst>
        </pc:spChg>
        <pc:graphicFrameChg chg="modGraphic">
          <ac:chgData name="Robin Falconer" userId="1a94c901-a172-40eb-8a39-4b054c25249f" providerId="ADAL" clId="{F421B738-CC32-4BB6-8EAE-26DC65A65DE8}" dt="2021-08-17T07:15:27.941" v="3130" actId="20577"/>
          <ac:graphicFrameMkLst>
            <pc:docMk/>
            <pc:sldMk cId="3392829570" sldId="4844"/>
            <ac:graphicFrameMk id="2" creationId="{15239104-AC4A-4F4B-989F-2B47EC41D293}"/>
          </ac:graphicFrameMkLst>
        </pc:graphicFrameChg>
        <pc:picChg chg="add mod">
          <ac:chgData name="Robin Falconer" userId="1a94c901-a172-40eb-8a39-4b054c25249f" providerId="ADAL" clId="{F421B738-CC32-4BB6-8EAE-26DC65A65DE8}" dt="2021-08-16T15:35:01.701" v="1138" actId="1036"/>
          <ac:picMkLst>
            <pc:docMk/>
            <pc:sldMk cId="3392829570" sldId="4844"/>
            <ac:picMk id="3" creationId="{1ADE16B0-AF0A-49D1-B667-9FC23EE3C58F}"/>
          </ac:picMkLst>
        </pc:picChg>
        <pc:picChg chg="mod">
          <ac:chgData name="Robin Falconer" userId="1a94c901-a172-40eb-8a39-4b054c25249f" providerId="ADAL" clId="{F421B738-CC32-4BB6-8EAE-26DC65A65DE8}" dt="2021-08-16T15:35:01.701" v="1138" actId="1036"/>
          <ac:picMkLst>
            <pc:docMk/>
            <pc:sldMk cId="3392829570" sldId="4844"/>
            <ac:picMk id="2050" creationId="{56F0B498-7DDC-4A05-B0BF-09B1D1F79C97}"/>
          </ac:picMkLst>
        </pc:picChg>
        <pc:picChg chg="del mod">
          <ac:chgData name="Robin Falconer" userId="1a94c901-a172-40eb-8a39-4b054c25249f" providerId="ADAL" clId="{F421B738-CC32-4BB6-8EAE-26DC65A65DE8}" dt="2021-08-16T15:34:44.709" v="1123" actId="478"/>
          <ac:picMkLst>
            <pc:docMk/>
            <pc:sldMk cId="3392829570" sldId="4844"/>
            <ac:picMk id="2052" creationId="{52B5C99C-8FCF-44B4-B739-CE77053E59C0}"/>
          </ac:picMkLst>
        </pc:picChg>
        <pc:picChg chg="add del mod">
          <ac:chgData name="Robin Falconer" userId="1a94c901-a172-40eb-8a39-4b054c25249f" providerId="ADAL" clId="{F421B738-CC32-4BB6-8EAE-26DC65A65DE8}" dt="2021-08-16T15:34:47.801" v="1127"/>
          <ac:picMkLst>
            <pc:docMk/>
            <pc:sldMk cId="3392829570" sldId="4844"/>
            <ac:picMk id="3074" creationId="{230813E3-83AC-4A2F-BA91-B804880DB38B}"/>
          </ac:picMkLst>
        </pc:picChg>
      </pc:sldChg>
      <pc:sldChg chg="addSp modSp mod">
        <pc:chgData name="Robin Falconer" userId="1a94c901-a172-40eb-8a39-4b054c25249f" providerId="ADAL" clId="{F421B738-CC32-4BB6-8EAE-26DC65A65DE8}" dt="2021-08-17T13:55:45.302" v="3171" actId="20577"/>
        <pc:sldMkLst>
          <pc:docMk/>
          <pc:sldMk cId="1615770333" sldId="4845"/>
        </pc:sldMkLst>
        <pc:spChg chg="mod">
          <ac:chgData name="Robin Falconer" userId="1a94c901-a172-40eb-8a39-4b054c25249f" providerId="ADAL" clId="{F421B738-CC32-4BB6-8EAE-26DC65A65DE8}" dt="2021-08-17T10:32:13.513" v="3160" actId="1076"/>
          <ac:spMkLst>
            <pc:docMk/>
            <pc:sldMk cId="1615770333" sldId="4845"/>
            <ac:spMk id="9" creationId="{6F2F3855-9E9B-4BC2-87A6-D154DE54D98B}"/>
          </ac:spMkLst>
        </pc:spChg>
        <pc:spChg chg="mod">
          <ac:chgData name="Robin Falconer" userId="1a94c901-a172-40eb-8a39-4b054c25249f" providerId="ADAL" clId="{F421B738-CC32-4BB6-8EAE-26DC65A65DE8}" dt="2021-08-17T13:55:45.302" v="3171" actId="20577"/>
          <ac:spMkLst>
            <pc:docMk/>
            <pc:sldMk cId="1615770333" sldId="4845"/>
            <ac:spMk id="10" creationId="{F65038B0-8F3E-4677-A7ED-3EE8CA25027E}"/>
          </ac:spMkLst>
        </pc:spChg>
        <pc:spChg chg="mod">
          <ac:chgData name="Robin Falconer" userId="1a94c901-a172-40eb-8a39-4b054c25249f" providerId="ADAL" clId="{F421B738-CC32-4BB6-8EAE-26DC65A65DE8}" dt="2021-08-17T10:32:13.513" v="3160" actId="1076"/>
          <ac:spMkLst>
            <pc:docMk/>
            <pc:sldMk cId="1615770333" sldId="4845"/>
            <ac:spMk id="12" creationId="{DB3C6453-7645-454D-9B26-7ABB5FB3379D}"/>
          </ac:spMkLst>
        </pc:spChg>
        <pc:spChg chg="mod">
          <ac:chgData name="Robin Falconer" userId="1a94c901-a172-40eb-8a39-4b054c25249f" providerId="ADAL" clId="{F421B738-CC32-4BB6-8EAE-26DC65A65DE8}" dt="2021-08-17T10:32:13.513" v="3160" actId="1076"/>
          <ac:spMkLst>
            <pc:docMk/>
            <pc:sldMk cId="1615770333" sldId="4845"/>
            <ac:spMk id="13" creationId="{E173B0D6-8628-4F9E-B2C5-AB70FB189859}"/>
          </ac:spMkLst>
        </pc:spChg>
        <pc:spChg chg="mod">
          <ac:chgData name="Robin Falconer" userId="1a94c901-a172-40eb-8a39-4b054c25249f" providerId="ADAL" clId="{F421B738-CC32-4BB6-8EAE-26DC65A65DE8}" dt="2021-08-17T10:32:13.513" v="3160" actId="1076"/>
          <ac:spMkLst>
            <pc:docMk/>
            <pc:sldMk cId="1615770333" sldId="4845"/>
            <ac:spMk id="14" creationId="{3EA530FD-CA68-4246-892E-01E07542521A}"/>
          </ac:spMkLst>
        </pc:spChg>
        <pc:spChg chg="mod">
          <ac:chgData name="Robin Falconer" userId="1a94c901-a172-40eb-8a39-4b054c25249f" providerId="ADAL" clId="{F421B738-CC32-4BB6-8EAE-26DC65A65DE8}" dt="2021-08-17T10:32:13.513" v="3160" actId="1076"/>
          <ac:spMkLst>
            <pc:docMk/>
            <pc:sldMk cId="1615770333" sldId="4845"/>
            <ac:spMk id="15" creationId="{5164B05D-D85D-4DE2-A069-5FC61D3DEC84}"/>
          </ac:spMkLst>
        </pc:spChg>
        <pc:spChg chg="add mod">
          <ac:chgData name="Robin Falconer" userId="1a94c901-a172-40eb-8a39-4b054c25249f" providerId="ADAL" clId="{F421B738-CC32-4BB6-8EAE-26DC65A65DE8}" dt="2021-08-17T10:29:08.076" v="3138" actId="1076"/>
          <ac:spMkLst>
            <pc:docMk/>
            <pc:sldMk cId="1615770333" sldId="4845"/>
            <ac:spMk id="16" creationId="{8A6EBF94-51E8-4FFF-9165-A480290E59B7}"/>
          </ac:spMkLst>
        </pc:spChg>
      </pc:sldChg>
      <pc:sldChg chg="addSp modSp mod">
        <pc:chgData name="Robin Falconer" userId="1a94c901-a172-40eb-8a39-4b054c25249f" providerId="ADAL" clId="{F421B738-CC32-4BB6-8EAE-26DC65A65DE8}" dt="2021-08-17T10:36:24.961" v="3161" actId="14"/>
        <pc:sldMkLst>
          <pc:docMk/>
          <pc:sldMk cId="1838355924" sldId="4846"/>
        </pc:sldMkLst>
        <pc:spChg chg="mod">
          <ac:chgData name="Robin Falconer" userId="1a94c901-a172-40eb-8a39-4b054c25249f" providerId="ADAL" clId="{F421B738-CC32-4BB6-8EAE-26DC65A65DE8}" dt="2021-08-16T14:29:49.700" v="80"/>
          <ac:spMkLst>
            <pc:docMk/>
            <pc:sldMk cId="1838355924" sldId="4846"/>
            <ac:spMk id="19" creationId="{D5315495-4C47-4BD2-8556-41D6C1A41B57}"/>
          </ac:spMkLst>
        </pc:spChg>
        <pc:spChg chg="mod">
          <ac:chgData name="Robin Falconer" userId="1a94c901-a172-40eb-8a39-4b054c25249f" providerId="ADAL" clId="{F421B738-CC32-4BB6-8EAE-26DC65A65DE8}" dt="2021-08-17T10:36:24.961" v="3161" actId="14"/>
          <ac:spMkLst>
            <pc:docMk/>
            <pc:sldMk cId="1838355924" sldId="4846"/>
            <ac:spMk id="20" creationId="{E1FFBA7D-CD47-4655-9DD4-999816FC5673}"/>
          </ac:spMkLst>
        </pc:spChg>
        <pc:spChg chg="add mod">
          <ac:chgData name="Robin Falconer" userId="1a94c901-a172-40eb-8a39-4b054c25249f" providerId="ADAL" clId="{F421B738-CC32-4BB6-8EAE-26DC65A65DE8}" dt="2021-08-16T14:29:49.700" v="80"/>
          <ac:spMkLst>
            <pc:docMk/>
            <pc:sldMk cId="1838355924" sldId="4846"/>
            <ac:spMk id="23" creationId="{86956C6F-CBDA-4592-B182-012579CE4D1C}"/>
          </ac:spMkLst>
        </pc:spChg>
        <pc:spChg chg="add mod">
          <ac:chgData name="Robin Falconer" userId="1a94c901-a172-40eb-8a39-4b054c25249f" providerId="ADAL" clId="{F421B738-CC32-4BB6-8EAE-26DC65A65DE8}" dt="2021-08-17T10:29:10.731" v="3139"/>
          <ac:spMkLst>
            <pc:docMk/>
            <pc:sldMk cId="1838355924" sldId="4846"/>
            <ac:spMk id="24" creationId="{D53DFEA8-1F82-409F-9FB5-5CB63DE3F0C4}"/>
          </ac:spMkLst>
        </pc:spChg>
        <pc:grpChg chg="add mod">
          <ac:chgData name="Robin Falconer" userId="1a94c901-a172-40eb-8a39-4b054c25249f" providerId="ADAL" clId="{F421B738-CC32-4BB6-8EAE-26DC65A65DE8}" dt="2021-08-16T14:29:49.700" v="80"/>
          <ac:grpSpMkLst>
            <pc:docMk/>
            <pc:sldMk cId="1838355924" sldId="4846"/>
            <ac:grpSpMk id="16" creationId="{EB754297-60A6-44AC-A59C-73188E250C07}"/>
          </ac:grpSpMkLst>
        </pc:grpChg>
        <pc:picChg chg="mod">
          <ac:chgData name="Robin Falconer" userId="1a94c901-a172-40eb-8a39-4b054c25249f" providerId="ADAL" clId="{F421B738-CC32-4BB6-8EAE-26DC65A65DE8}" dt="2021-08-16T14:29:49.700" v="80"/>
          <ac:picMkLst>
            <pc:docMk/>
            <pc:sldMk cId="1838355924" sldId="4846"/>
            <ac:picMk id="22" creationId="{B96FAE6C-E62A-4B3E-BF7D-6FAA79463EDB}"/>
          </ac:picMkLst>
        </pc:picChg>
      </pc:sldChg>
      <pc:sldChg chg="addSp delSp modSp mod">
        <pc:chgData name="Robin Falconer" userId="1a94c901-a172-40eb-8a39-4b054c25249f" providerId="ADAL" clId="{F421B738-CC32-4BB6-8EAE-26DC65A65DE8}" dt="2021-08-17T10:29:13.877" v="3142"/>
        <pc:sldMkLst>
          <pc:docMk/>
          <pc:sldMk cId="4176765214" sldId="4847"/>
        </pc:sldMkLst>
        <pc:spChg chg="mod">
          <ac:chgData name="Robin Falconer" userId="1a94c901-a172-40eb-8a39-4b054c25249f" providerId="ADAL" clId="{F421B738-CC32-4BB6-8EAE-26DC65A65DE8}" dt="2021-08-16T15:59:29.462" v="1391" actId="20577"/>
          <ac:spMkLst>
            <pc:docMk/>
            <pc:sldMk cId="4176765214" sldId="4847"/>
            <ac:spMk id="4" creationId="{27031759-BBB6-4C55-B213-E7049EF1A36A}"/>
          </ac:spMkLst>
        </pc:spChg>
        <pc:spChg chg="mod">
          <ac:chgData name="Robin Falconer" userId="1a94c901-a172-40eb-8a39-4b054c25249f" providerId="ADAL" clId="{F421B738-CC32-4BB6-8EAE-26DC65A65DE8}" dt="2021-08-16T14:29:48.504" v="79"/>
          <ac:spMkLst>
            <pc:docMk/>
            <pc:sldMk cId="4176765214" sldId="4847"/>
            <ac:spMk id="5" creationId="{8B430CCE-67ED-4D5F-BA7C-A2545F1608B7}"/>
          </ac:spMkLst>
        </pc:spChg>
        <pc:spChg chg="add mod">
          <ac:chgData name="Robin Falconer" userId="1a94c901-a172-40eb-8a39-4b054c25249f" providerId="ADAL" clId="{F421B738-CC32-4BB6-8EAE-26DC65A65DE8}" dt="2021-08-16T14:29:48.504" v="79"/>
          <ac:spMkLst>
            <pc:docMk/>
            <pc:sldMk cId="4176765214" sldId="4847"/>
            <ac:spMk id="7" creationId="{A6F99DD2-3A05-4F0B-ACD5-D7A540751BDD}"/>
          </ac:spMkLst>
        </pc:spChg>
        <pc:spChg chg="add del mod ord">
          <ac:chgData name="Robin Falconer" userId="1a94c901-a172-40eb-8a39-4b054c25249f" providerId="ADAL" clId="{F421B738-CC32-4BB6-8EAE-26DC65A65DE8}" dt="2021-08-16T16:03:27.041" v="1393" actId="478"/>
          <ac:spMkLst>
            <pc:docMk/>
            <pc:sldMk cId="4176765214" sldId="4847"/>
            <ac:spMk id="13" creationId="{192604FB-4467-4493-8094-4F32DEF5D1DF}"/>
          </ac:spMkLst>
        </pc:spChg>
        <pc:spChg chg="add mod">
          <ac:chgData name="Robin Falconer" userId="1a94c901-a172-40eb-8a39-4b054c25249f" providerId="ADAL" clId="{F421B738-CC32-4BB6-8EAE-26DC65A65DE8}" dt="2021-08-16T16:07:51.455" v="1654" actId="20577"/>
          <ac:spMkLst>
            <pc:docMk/>
            <pc:sldMk cId="4176765214" sldId="4847"/>
            <ac:spMk id="14" creationId="{7F84DFFA-E5CA-471D-8C46-225FFE30620D}"/>
          </ac:spMkLst>
        </pc:spChg>
        <pc:spChg chg="add mod ord">
          <ac:chgData name="Robin Falconer" userId="1a94c901-a172-40eb-8a39-4b054c25249f" providerId="ADAL" clId="{F421B738-CC32-4BB6-8EAE-26DC65A65DE8}" dt="2021-08-16T16:06:48.614" v="1609" actId="167"/>
          <ac:spMkLst>
            <pc:docMk/>
            <pc:sldMk cId="4176765214" sldId="4847"/>
            <ac:spMk id="17" creationId="{9C6603A5-BEE0-4407-82E9-765B90D1C28C}"/>
          </ac:spMkLst>
        </pc:spChg>
        <pc:spChg chg="add mod">
          <ac:chgData name="Robin Falconer" userId="1a94c901-a172-40eb-8a39-4b054c25249f" providerId="ADAL" clId="{F421B738-CC32-4BB6-8EAE-26DC65A65DE8}" dt="2021-08-17T10:29:13.877" v="3142"/>
          <ac:spMkLst>
            <pc:docMk/>
            <pc:sldMk cId="4176765214" sldId="4847"/>
            <ac:spMk id="18" creationId="{84040C6C-59DC-4A13-9549-5F84AA834C07}"/>
          </ac:spMkLst>
        </pc:spChg>
        <pc:grpChg chg="add mod">
          <ac:chgData name="Robin Falconer" userId="1a94c901-a172-40eb-8a39-4b054c25249f" providerId="ADAL" clId="{F421B738-CC32-4BB6-8EAE-26DC65A65DE8}" dt="2021-08-16T14:29:48.504" v="79"/>
          <ac:grpSpMkLst>
            <pc:docMk/>
            <pc:sldMk cId="4176765214" sldId="4847"/>
            <ac:grpSpMk id="3" creationId="{6189B36E-99D2-4EF5-8154-AB186DAA11DA}"/>
          </ac:grpSpMkLst>
        </pc:grpChg>
        <pc:picChg chg="add del mod">
          <ac:chgData name="Robin Falconer" userId="1a94c901-a172-40eb-8a39-4b054c25249f" providerId="ADAL" clId="{F421B738-CC32-4BB6-8EAE-26DC65A65DE8}" dt="2021-08-16T15:52:31.038" v="1139" actId="478"/>
          <ac:picMkLst>
            <pc:docMk/>
            <pc:sldMk cId="4176765214" sldId="4847"/>
            <ac:picMk id="2" creationId="{C9D93A38-A9EB-4E12-85F4-6F3B40AB61A2}"/>
          </ac:picMkLst>
        </pc:picChg>
        <pc:picChg chg="mod">
          <ac:chgData name="Robin Falconer" userId="1a94c901-a172-40eb-8a39-4b054c25249f" providerId="ADAL" clId="{F421B738-CC32-4BB6-8EAE-26DC65A65DE8}" dt="2021-08-16T14:29:48.504" v="79"/>
          <ac:picMkLst>
            <pc:docMk/>
            <pc:sldMk cId="4176765214" sldId="4847"/>
            <ac:picMk id="6" creationId="{E51BB207-1836-47BA-A8D7-CCB6FC2497E2}"/>
          </ac:picMkLst>
        </pc:picChg>
        <pc:picChg chg="add del mod modCrop">
          <ac:chgData name="Robin Falconer" userId="1a94c901-a172-40eb-8a39-4b054c25249f" providerId="ADAL" clId="{F421B738-CC32-4BB6-8EAE-26DC65A65DE8}" dt="2021-08-16T15:52:31.038" v="1139" actId="478"/>
          <ac:picMkLst>
            <pc:docMk/>
            <pc:sldMk cId="4176765214" sldId="4847"/>
            <ac:picMk id="8" creationId="{9CA77EC0-9B57-4AF1-948B-C1B5A7B336E8}"/>
          </ac:picMkLst>
        </pc:picChg>
        <pc:picChg chg="add del mod">
          <ac:chgData name="Robin Falconer" userId="1a94c901-a172-40eb-8a39-4b054c25249f" providerId="ADAL" clId="{F421B738-CC32-4BB6-8EAE-26DC65A65DE8}" dt="2021-08-16T16:03:27.041" v="1393" actId="478"/>
          <ac:picMkLst>
            <pc:docMk/>
            <pc:sldMk cId="4176765214" sldId="4847"/>
            <ac:picMk id="9" creationId="{F29897D7-E85B-41EA-BD23-21CD72E7C58E}"/>
          </ac:picMkLst>
        </pc:picChg>
        <pc:picChg chg="add mod">
          <ac:chgData name="Robin Falconer" userId="1a94c901-a172-40eb-8a39-4b054c25249f" providerId="ADAL" clId="{F421B738-CC32-4BB6-8EAE-26DC65A65DE8}" dt="2021-08-16T16:04:33.368" v="1456" actId="1037"/>
          <ac:picMkLst>
            <pc:docMk/>
            <pc:sldMk cId="4176765214" sldId="4847"/>
            <ac:picMk id="10" creationId="{AD29FC2D-17B2-4F0E-86AF-40C5C0FF1F1E}"/>
          </ac:picMkLst>
        </pc:picChg>
        <pc:picChg chg="add mod modCrop">
          <ac:chgData name="Robin Falconer" userId="1a94c901-a172-40eb-8a39-4b054c25249f" providerId="ADAL" clId="{F421B738-CC32-4BB6-8EAE-26DC65A65DE8}" dt="2021-08-16T16:04:33.368" v="1456" actId="1037"/>
          <ac:picMkLst>
            <pc:docMk/>
            <pc:sldMk cId="4176765214" sldId="4847"/>
            <ac:picMk id="11" creationId="{F8F15874-F43D-4980-A899-601CDA989256}"/>
          </ac:picMkLst>
        </pc:picChg>
        <pc:picChg chg="add del mod">
          <ac:chgData name="Robin Falconer" userId="1a94c901-a172-40eb-8a39-4b054c25249f" providerId="ADAL" clId="{F421B738-CC32-4BB6-8EAE-26DC65A65DE8}" dt="2021-08-16T15:22:21.645" v="1045" actId="478"/>
          <ac:picMkLst>
            <pc:docMk/>
            <pc:sldMk cId="4176765214" sldId="4847"/>
            <ac:picMk id="2050" creationId="{5733D34A-570F-4FEF-A246-40D55F3E7822}"/>
          </ac:picMkLst>
        </pc:picChg>
        <pc:picChg chg="add del mod">
          <ac:chgData name="Robin Falconer" userId="1a94c901-a172-40eb-8a39-4b054c25249f" providerId="ADAL" clId="{F421B738-CC32-4BB6-8EAE-26DC65A65DE8}" dt="2021-08-16T15:22:21.645" v="1045" actId="478"/>
          <ac:picMkLst>
            <pc:docMk/>
            <pc:sldMk cId="4176765214" sldId="4847"/>
            <ac:picMk id="2052" creationId="{B8509B8A-111E-4F2B-8C58-0370F25AA28C}"/>
          </ac:picMkLst>
        </pc:picChg>
        <pc:picChg chg="add del">
          <ac:chgData name="Robin Falconer" userId="1a94c901-a172-40eb-8a39-4b054c25249f" providerId="ADAL" clId="{F421B738-CC32-4BB6-8EAE-26DC65A65DE8}" dt="2021-08-16T15:22:33.857" v="1049"/>
          <ac:picMkLst>
            <pc:docMk/>
            <pc:sldMk cId="4176765214" sldId="4847"/>
            <ac:picMk id="2054" creationId="{001D825D-AC46-4E5B-8930-60A17B8F53A9}"/>
          </ac:picMkLst>
        </pc:picChg>
      </pc:sldChg>
      <pc:sldChg chg="addSp delSp modSp new mod ord">
        <pc:chgData name="Robin Falconer" userId="1a94c901-a172-40eb-8a39-4b054c25249f" providerId="ADAL" clId="{F421B738-CC32-4BB6-8EAE-26DC65A65DE8}" dt="2021-08-17T10:29:13.191" v="3141"/>
        <pc:sldMkLst>
          <pc:docMk/>
          <pc:sldMk cId="2796335352" sldId="4848"/>
        </pc:sldMkLst>
        <pc:spChg chg="del">
          <ac:chgData name="Robin Falconer" userId="1a94c901-a172-40eb-8a39-4b054c25249f" providerId="ADAL" clId="{F421B738-CC32-4BB6-8EAE-26DC65A65DE8}" dt="2021-08-16T14:26:09.877" v="8" actId="478"/>
          <ac:spMkLst>
            <pc:docMk/>
            <pc:sldMk cId="2796335352" sldId="4848"/>
            <ac:spMk id="2" creationId="{EB3482C3-2863-480E-A9AB-6A9CE50C8CCC}"/>
          </ac:spMkLst>
        </pc:spChg>
        <pc:spChg chg="add mod">
          <ac:chgData name="Robin Falconer" userId="1a94c901-a172-40eb-8a39-4b054c25249f" providerId="ADAL" clId="{F421B738-CC32-4BB6-8EAE-26DC65A65DE8}" dt="2021-08-16T14:41:22.938" v="395" actId="20577"/>
          <ac:spMkLst>
            <pc:docMk/>
            <pc:sldMk cId="2796335352" sldId="4848"/>
            <ac:spMk id="3" creationId="{671469F4-B485-40A1-AE49-0B7DABAA9232}"/>
          </ac:spMkLst>
        </pc:spChg>
        <pc:spChg chg="mod">
          <ac:chgData name="Robin Falconer" userId="1a94c901-a172-40eb-8a39-4b054c25249f" providerId="ADAL" clId="{F421B738-CC32-4BB6-8EAE-26DC65A65DE8}" dt="2021-08-16T14:29:47.545" v="78"/>
          <ac:spMkLst>
            <pc:docMk/>
            <pc:sldMk cId="2796335352" sldId="4848"/>
            <ac:spMk id="6" creationId="{3A2520A3-5B43-4D10-8040-9A70A413C0CC}"/>
          </ac:spMkLst>
        </pc:spChg>
        <pc:spChg chg="add mod">
          <ac:chgData name="Robin Falconer" userId="1a94c901-a172-40eb-8a39-4b054c25249f" providerId="ADAL" clId="{F421B738-CC32-4BB6-8EAE-26DC65A65DE8}" dt="2021-08-16T14:29:47.545" v="78"/>
          <ac:spMkLst>
            <pc:docMk/>
            <pc:sldMk cId="2796335352" sldId="4848"/>
            <ac:spMk id="8" creationId="{0C5F0265-FCBC-4A7B-8EA0-A6E455BA4938}"/>
          </ac:spMkLst>
        </pc:spChg>
        <pc:spChg chg="add del mod">
          <ac:chgData name="Robin Falconer" userId="1a94c901-a172-40eb-8a39-4b054c25249f" providerId="ADAL" clId="{F421B738-CC32-4BB6-8EAE-26DC65A65DE8}" dt="2021-08-16T14:30:11.648" v="83" actId="478"/>
          <ac:spMkLst>
            <pc:docMk/>
            <pc:sldMk cId="2796335352" sldId="4848"/>
            <ac:spMk id="9" creationId="{14B8F326-5A02-4597-9FD1-37255AD38072}"/>
          </ac:spMkLst>
        </pc:spChg>
        <pc:spChg chg="add mod ord">
          <ac:chgData name="Robin Falconer" userId="1a94c901-a172-40eb-8a39-4b054c25249f" providerId="ADAL" clId="{F421B738-CC32-4BB6-8EAE-26DC65A65DE8}" dt="2021-08-16T15:05:29.911" v="1010" actId="1076"/>
          <ac:spMkLst>
            <pc:docMk/>
            <pc:sldMk cId="2796335352" sldId="4848"/>
            <ac:spMk id="10" creationId="{7F919143-FA6B-4E34-8F1E-380A7365CC76}"/>
          </ac:spMkLst>
        </pc:spChg>
        <pc:spChg chg="add del mod">
          <ac:chgData name="Robin Falconer" userId="1a94c901-a172-40eb-8a39-4b054c25249f" providerId="ADAL" clId="{F421B738-CC32-4BB6-8EAE-26DC65A65DE8}" dt="2021-08-16T14:42:13.279" v="413" actId="478"/>
          <ac:spMkLst>
            <pc:docMk/>
            <pc:sldMk cId="2796335352" sldId="4848"/>
            <ac:spMk id="14" creationId="{B508E209-AB1E-4255-9B42-59E879ECBA73}"/>
          </ac:spMkLst>
        </pc:spChg>
        <pc:spChg chg="add mod">
          <ac:chgData name="Robin Falconer" userId="1a94c901-a172-40eb-8a39-4b054c25249f" providerId="ADAL" clId="{F421B738-CC32-4BB6-8EAE-26DC65A65DE8}" dt="2021-08-16T15:05:47.127" v="1012" actId="113"/>
          <ac:spMkLst>
            <pc:docMk/>
            <pc:sldMk cId="2796335352" sldId="4848"/>
            <ac:spMk id="16" creationId="{EB19ED1E-C58D-42C1-8CA1-1F39441A38A4}"/>
          </ac:spMkLst>
        </pc:spChg>
        <pc:spChg chg="add mod">
          <ac:chgData name="Robin Falconer" userId="1a94c901-a172-40eb-8a39-4b054c25249f" providerId="ADAL" clId="{F421B738-CC32-4BB6-8EAE-26DC65A65DE8}" dt="2021-08-17T10:29:13.191" v="3141"/>
          <ac:spMkLst>
            <pc:docMk/>
            <pc:sldMk cId="2796335352" sldId="4848"/>
            <ac:spMk id="18" creationId="{D100FD4C-9E0F-45A6-8CDF-D8D7D0F09437}"/>
          </ac:spMkLst>
        </pc:spChg>
        <pc:grpChg chg="add mod">
          <ac:chgData name="Robin Falconer" userId="1a94c901-a172-40eb-8a39-4b054c25249f" providerId="ADAL" clId="{F421B738-CC32-4BB6-8EAE-26DC65A65DE8}" dt="2021-08-16T14:29:47.545" v="78"/>
          <ac:grpSpMkLst>
            <pc:docMk/>
            <pc:sldMk cId="2796335352" sldId="4848"/>
            <ac:grpSpMk id="5" creationId="{87663C51-E6C9-4CC0-BB55-B3B7E1D86A7C}"/>
          </ac:grpSpMkLst>
        </pc:grpChg>
        <pc:picChg chg="add del mod">
          <ac:chgData name="Robin Falconer" userId="1a94c901-a172-40eb-8a39-4b054c25249f" providerId="ADAL" clId="{F421B738-CC32-4BB6-8EAE-26DC65A65DE8}" dt="2021-08-16T14:30:53.907" v="98"/>
          <ac:picMkLst>
            <pc:docMk/>
            <pc:sldMk cId="2796335352" sldId="4848"/>
            <ac:picMk id="4" creationId="{4A890F83-F21A-461F-91E9-36D1DAFC076E}"/>
          </ac:picMkLst>
        </pc:picChg>
        <pc:picChg chg="mod">
          <ac:chgData name="Robin Falconer" userId="1a94c901-a172-40eb-8a39-4b054c25249f" providerId="ADAL" clId="{F421B738-CC32-4BB6-8EAE-26DC65A65DE8}" dt="2021-08-16T14:29:47.545" v="78"/>
          <ac:picMkLst>
            <pc:docMk/>
            <pc:sldMk cId="2796335352" sldId="4848"/>
            <ac:picMk id="7" creationId="{136ADAC2-88DA-4E3C-AE4C-58EB350506FF}"/>
          </ac:picMkLst>
        </pc:picChg>
        <pc:picChg chg="add del mod">
          <ac:chgData name="Robin Falconer" userId="1a94c901-a172-40eb-8a39-4b054c25249f" providerId="ADAL" clId="{F421B738-CC32-4BB6-8EAE-26DC65A65DE8}" dt="2021-08-16T14:56:36.502" v="746" actId="478"/>
          <ac:picMkLst>
            <pc:docMk/>
            <pc:sldMk cId="2796335352" sldId="4848"/>
            <ac:picMk id="1026" creationId="{7093619D-F507-477E-9270-72373C2FB345}"/>
          </ac:picMkLst>
        </pc:picChg>
        <pc:picChg chg="add del mod">
          <ac:chgData name="Robin Falconer" userId="1a94c901-a172-40eb-8a39-4b054c25249f" providerId="ADAL" clId="{F421B738-CC32-4BB6-8EAE-26DC65A65DE8}" dt="2021-08-16T14:30:51.630" v="94"/>
          <ac:picMkLst>
            <pc:docMk/>
            <pc:sldMk cId="2796335352" sldId="4848"/>
            <ac:picMk id="1028" creationId="{FB26DCE2-881C-43DB-98C1-0E44B87577F2}"/>
          </ac:picMkLst>
        </pc:picChg>
        <pc:picChg chg="add mod">
          <ac:chgData name="Robin Falconer" userId="1a94c901-a172-40eb-8a39-4b054c25249f" providerId="ADAL" clId="{F421B738-CC32-4BB6-8EAE-26DC65A65DE8}" dt="2021-08-16T15:05:29.911" v="1010" actId="1076"/>
          <ac:picMkLst>
            <pc:docMk/>
            <pc:sldMk cId="2796335352" sldId="4848"/>
            <ac:picMk id="1030" creationId="{EC5F6FF0-89B0-4CC4-91B5-99E854FBBA04}"/>
          </ac:picMkLst>
        </pc:picChg>
        <pc:picChg chg="add mod">
          <ac:chgData name="Robin Falconer" userId="1a94c901-a172-40eb-8a39-4b054c25249f" providerId="ADAL" clId="{F421B738-CC32-4BB6-8EAE-26DC65A65DE8}" dt="2021-08-16T15:05:29.911" v="1010" actId="1076"/>
          <ac:picMkLst>
            <pc:docMk/>
            <pc:sldMk cId="2796335352" sldId="4848"/>
            <ac:picMk id="1032" creationId="{646D720E-426B-463B-AEA4-2EABCF7B2640}"/>
          </ac:picMkLst>
        </pc:picChg>
        <pc:picChg chg="add mod">
          <ac:chgData name="Robin Falconer" userId="1a94c901-a172-40eb-8a39-4b054c25249f" providerId="ADAL" clId="{F421B738-CC32-4BB6-8EAE-26DC65A65DE8}" dt="2021-08-16T15:05:29.911" v="1010" actId="1076"/>
          <ac:picMkLst>
            <pc:docMk/>
            <pc:sldMk cId="2796335352" sldId="4848"/>
            <ac:picMk id="1034" creationId="{33922FFA-AB63-470B-89BF-BADF3D90AA92}"/>
          </ac:picMkLst>
        </pc:picChg>
      </pc:sldChg>
      <pc:sldChg chg="addSp delSp modSp new mod">
        <pc:chgData name="Robin Falconer" userId="1a94c901-a172-40eb-8a39-4b054c25249f" providerId="ADAL" clId="{F421B738-CC32-4BB6-8EAE-26DC65A65DE8}" dt="2021-08-17T10:30:59.540" v="3151" actId="12"/>
        <pc:sldMkLst>
          <pc:docMk/>
          <pc:sldMk cId="253646572" sldId="4849"/>
        </pc:sldMkLst>
        <pc:spChg chg="del">
          <ac:chgData name="Robin Falconer" userId="1a94c901-a172-40eb-8a39-4b054c25249f" providerId="ADAL" clId="{F421B738-CC32-4BB6-8EAE-26DC65A65DE8}" dt="2021-08-16T16:11:06.165" v="1655" actId="478"/>
          <ac:spMkLst>
            <pc:docMk/>
            <pc:sldMk cId="253646572" sldId="4849"/>
            <ac:spMk id="2" creationId="{C9C68906-A66B-46CE-AC9E-0BCDB29EEF28}"/>
          </ac:spMkLst>
        </pc:spChg>
        <pc:spChg chg="add mod">
          <ac:chgData name="Robin Falconer" userId="1a94c901-a172-40eb-8a39-4b054c25249f" providerId="ADAL" clId="{F421B738-CC32-4BB6-8EAE-26DC65A65DE8}" dt="2021-08-16T16:15:06.538" v="2026" actId="20577"/>
          <ac:spMkLst>
            <pc:docMk/>
            <pc:sldMk cId="253646572" sldId="4849"/>
            <ac:spMk id="3" creationId="{9B60D39F-3080-4FEC-AC27-36DE90097149}"/>
          </ac:spMkLst>
        </pc:spChg>
        <pc:spChg chg="add del mod">
          <ac:chgData name="Robin Falconer" userId="1a94c901-a172-40eb-8a39-4b054c25249f" providerId="ADAL" clId="{F421B738-CC32-4BB6-8EAE-26DC65A65DE8}" dt="2021-08-16T16:17:01.746" v="2083" actId="478"/>
          <ac:spMkLst>
            <pc:docMk/>
            <pc:sldMk cId="253646572" sldId="4849"/>
            <ac:spMk id="4" creationId="{724A6A18-D928-4E05-88AF-C5EB7FF031E8}"/>
          </ac:spMkLst>
        </pc:spChg>
        <pc:spChg chg="add del mod">
          <ac:chgData name="Robin Falconer" userId="1a94c901-a172-40eb-8a39-4b054c25249f" providerId="ADAL" clId="{F421B738-CC32-4BB6-8EAE-26DC65A65DE8}" dt="2021-08-16T16:17:01.746" v="2083" actId="478"/>
          <ac:spMkLst>
            <pc:docMk/>
            <pc:sldMk cId="253646572" sldId="4849"/>
            <ac:spMk id="7" creationId="{CFCC46AD-F864-4FF1-B594-7967B5F6DCFD}"/>
          </ac:spMkLst>
        </pc:spChg>
        <pc:spChg chg="add del mod">
          <ac:chgData name="Robin Falconer" userId="1a94c901-a172-40eb-8a39-4b054c25249f" providerId="ADAL" clId="{F421B738-CC32-4BB6-8EAE-26DC65A65DE8}" dt="2021-08-16T16:17:01.746" v="2083" actId="478"/>
          <ac:spMkLst>
            <pc:docMk/>
            <pc:sldMk cId="253646572" sldId="4849"/>
            <ac:spMk id="9" creationId="{9737D0C7-2752-4477-8A1A-55F41C1F4206}"/>
          </ac:spMkLst>
        </pc:spChg>
        <pc:spChg chg="add mod">
          <ac:chgData name="Robin Falconer" userId="1a94c901-a172-40eb-8a39-4b054c25249f" providerId="ADAL" clId="{F421B738-CC32-4BB6-8EAE-26DC65A65DE8}" dt="2021-08-17T10:30:31.602" v="3149" actId="1076"/>
          <ac:spMkLst>
            <pc:docMk/>
            <pc:sldMk cId="253646572" sldId="4849"/>
            <ac:spMk id="14" creationId="{751382E5-F3B8-4C07-B90B-9CEEC39770CE}"/>
          </ac:spMkLst>
        </pc:spChg>
        <pc:spChg chg="add mod">
          <ac:chgData name="Robin Falconer" userId="1a94c901-a172-40eb-8a39-4b054c25249f" providerId="ADAL" clId="{F421B738-CC32-4BB6-8EAE-26DC65A65DE8}" dt="2021-08-17T10:30:31.602" v="3149" actId="1076"/>
          <ac:spMkLst>
            <pc:docMk/>
            <pc:sldMk cId="253646572" sldId="4849"/>
            <ac:spMk id="15" creationId="{E6FA1716-4D56-4208-849D-B20DA9A86ADC}"/>
          </ac:spMkLst>
        </pc:spChg>
        <pc:spChg chg="add mod">
          <ac:chgData name="Robin Falconer" userId="1a94c901-a172-40eb-8a39-4b054c25249f" providerId="ADAL" clId="{F421B738-CC32-4BB6-8EAE-26DC65A65DE8}" dt="2021-08-17T10:30:31.602" v="3149" actId="1076"/>
          <ac:spMkLst>
            <pc:docMk/>
            <pc:sldMk cId="253646572" sldId="4849"/>
            <ac:spMk id="16" creationId="{CF06BA90-E9FC-49D8-9337-8FFC54469055}"/>
          </ac:spMkLst>
        </pc:spChg>
        <pc:spChg chg="add mod">
          <ac:chgData name="Robin Falconer" userId="1a94c901-a172-40eb-8a39-4b054c25249f" providerId="ADAL" clId="{F421B738-CC32-4BB6-8EAE-26DC65A65DE8}" dt="2021-08-17T10:30:31.602" v="3149" actId="1076"/>
          <ac:spMkLst>
            <pc:docMk/>
            <pc:sldMk cId="253646572" sldId="4849"/>
            <ac:spMk id="17" creationId="{59780E4D-78F7-4245-A512-4798683831F9}"/>
          </ac:spMkLst>
        </pc:spChg>
        <pc:spChg chg="add del mod">
          <ac:chgData name="Robin Falconer" userId="1a94c901-a172-40eb-8a39-4b054c25249f" providerId="ADAL" clId="{F421B738-CC32-4BB6-8EAE-26DC65A65DE8}" dt="2021-08-16T16:25:20.340" v="2731" actId="478"/>
          <ac:spMkLst>
            <pc:docMk/>
            <pc:sldMk cId="253646572" sldId="4849"/>
            <ac:spMk id="18" creationId="{1F6237BD-2290-45A6-BA16-82C2EE9FC8FE}"/>
          </ac:spMkLst>
        </pc:spChg>
        <pc:spChg chg="add mod">
          <ac:chgData name="Robin Falconer" userId="1a94c901-a172-40eb-8a39-4b054c25249f" providerId="ADAL" clId="{F421B738-CC32-4BB6-8EAE-26DC65A65DE8}" dt="2021-08-17T10:30:52.844" v="3150" actId="12"/>
          <ac:spMkLst>
            <pc:docMk/>
            <pc:sldMk cId="253646572" sldId="4849"/>
            <ac:spMk id="19" creationId="{C16DBCDA-3D9C-4461-8407-C9F91F732022}"/>
          </ac:spMkLst>
        </pc:spChg>
        <pc:spChg chg="add mod">
          <ac:chgData name="Robin Falconer" userId="1a94c901-a172-40eb-8a39-4b054c25249f" providerId="ADAL" clId="{F421B738-CC32-4BB6-8EAE-26DC65A65DE8}" dt="2021-08-17T10:30:59.540" v="3151" actId="12"/>
          <ac:spMkLst>
            <pc:docMk/>
            <pc:sldMk cId="253646572" sldId="4849"/>
            <ac:spMk id="20" creationId="{72DD69EA-9A0A-4E37-AA1F-479EC01A846F}"/>
          </ac:spMkLst>
        </pc:spChg>
        <pc:spChg chg="mod">
          <ac:chgData name="Robin Falconer" userId="1a94c901-a172-40eb-8a39-4b054c25249f" providerId="ADAL" clId="{F421B738-CC32-4BB6-8EAE-26DC65A65DE8}" dt="2021-08-16T16:35:35.416" v="3039"/>
          <ac:spMkLst>
            <pc:docMk/>
            <pc:sldMk cId="253646572" sldId="4849"/>
            <ac:spMk id="22" creationId="{90C09061-66D8-4D55-9D01-D410695F9748}"/>
          </ac:spMkLst>
        </pc:spChg>
        <pc:spChg chg="add mod">
          <ac:chgData name="Robin Falconer" userId="1a94c901-a172-40eb-8a39-4b054c25249f" providerId="ADAL" clId="{F421B738-CC32-4BB6-8EAE-26DC65A65DE8}" dt="2021-08-16T16:35:35.416" v="3039"/>
          <ac:spMkLst>
            <pc:docMk/>
            <pc:sldMk cId="253646572" sldId="4849"/>
            <ac:spMk id="24" creationId="{E5570B78-7BCD-43BE-BEBB-5AEFEBFB5846}"/>
          </ac:spMkLst>
        </pc:spChg>
        <pc:spChg chg="add mod">
          <ac:chgData name="Robin Falconer" userId="1a94c901-a172-40eb-8a39-4b054c25249f" providerId="ADAL" clId="{F421B738-CC32-4BB6-8EAE-26DC65A65DE8}" dt="2021-08-17T10:29:14.679" v="3143"/>
          <ac:spMkLst>
            <pc:docMk/>
            <pc:sldMk cId="253646572" sldId="4849"/>
            <ac:spMk id="25" creationId="{6FF00F99-88C3-408D-851F-5FBC70ECBB07}"/>
          </ac:spMkLst>
        </pc:spChg>
        <pc:grpChg chg="add mod">
          <ac:chgData name="Robin Falconer" userId="1a94c901-a172-40eb-8a39-4b054c25249f" providerId="ADAL" clId="{F421B738-CC32-4BB6-8EAE-26DC65A65DE8}" dt="2021-08-16T16:35:35.416" v="3039"/>
          <ac:grpSpMkLst>
            <pc:docMk/>
            <pc:sldMk cId="253646572" sldId="4849"/>
            <ac:grpSpMk id="21" creationId="{22739270-715A-47FD-85F7-5C1AD6394EEE}"/>
          </ac:grpSpMkLst>
        </pc:grpChg>
        <pc:picChg chg="mod">
          <ac:chgData name="Robin Falconer" userId="1a94c901-a172-40eb-8a39-4b054c25249f" providerId="ADAL" clId="{F421B738-CC32-4BB6-8EAE-26DC65A65DE8}" dt="2021-08-16T16:35:35.416" v="3039"/>
          <ac:picMkLst>
            <pc:docMk/>
            <pc:sldMk cId="253646572" sldId="4849"/>
            <ac:picMk id="23" creationId="{D894411E-F433-4B13-8920-9D0F754524B1}"/>
          </ac:picMkLst>
        </pc:picChg>
        <pc:cxnChg chg="add del mod">
          <ac:chgData name="Robin Falconer" userId="1a94c901-a172-40eb-8a39-4b054c25249f" providerId="ADAL" clId="{F421B738-CC32-4BB6-8EAE-26DC65A65DE8}" dt="2021-08-16T16:17:01.746" v="2083" actId="478"/>
          <ac:cxnSpMkLst>
            <pc:docMk/>
            <pc:sldMk cId="253646572" sldId="4849"/>
            <ac:cxnSpMk id="5" creationId="{A96B4E4A-5A08-4118-AAA9-F0D7D15528EE}"/>
          </ac:cxnSpMkLst>
        </pc:cxnChg>
        <pc:cxnChg chg="add del mod">
          <ac:chgData name="Robin Falconer" userId="1a94c901-a172-40eb-8a39-4b054c25249f" providerId="ADAL" clId="{F421B738-CC32-4BB6-8EAE-26DC65A65DE8}" dt="2021-08-16T16:15:48.890" v="2048" actId="478"/>
          <ac:cxnSpMkLst>
            <pc:docMk/>
            <pc:sldMk cId="253646572" sldId="4849"/>
            <ac:cxnSpMk id="8" creationId="{D6ED3E03-783E-473C-ACDC-16D1AF0E6B8C}"/>
          </ac:cxnSpMkLst>
        </pc:cxnChg>
        <pc:cxnChg chg="add del mod">
          <ac:chgData name="Robin Falconer" userId="1a94c901-a172-40eb-8a39-4b054c25249f" providerId="ADAL" clId="{F421B738-CC32-4BB6-8EAE-26DC65A65DE8}" dt="2021-08-16T16:15:48.890" v="2048" actId="478"/>
          <ac:cxnSpMkLst>
            <pc:docMk/>
            <pc:sldMk cId="253646572" sldId="4849"/>
            <ac:cxnSpMk id="10" creationId="{C67EA9D8-7760-445D-A071-67865F25ED31}"/>
          </ac:cxnSpMkLst>
        </pc:cxnChg>
        <pc:cxnChg chg="add del mod">
          <ac:chgData name="Robin Falconer" userId="1a94c901-a172-40eb-8a39-4b054c25249f" providerId="ADAL" clId="{F421B738-CC32-4BB6-8EAE-26DC65A65DE8}" dt="2021-08-16T16:17:01.746" v="2083" actId="478"/>
          <ac:cxnSpMkLst>
            <pc:docMk/>
            <pc:sldMk cId="253646572" sldId="4849"/>
            <ac:cxnSpMk id="12" creationId="{768653D7-46C3-4CDB-A9BD-CB7108031AA9}"/>
          </ac:cxnSpMkLst>
        </pc:cxnChg>
        <pc:cxnChg chg="add del mod">
          <ac:chgData name="Robin Falconer" userId="1a94c901-a172-40eb-8a39-4b054c25249f" providerId="ADAL" clId="{F421B738-CC32-4BB6-8EAE-26DC65A65DE8}" dt="2021-08-16T16:17:01.746" v="2083" actId="478"/>
          <ac:cxnSpMkLst>
            <pc:docMk/>
            <pc:sldMk cId="253646572" sldId="4849"/>
            <ac:cxnSpMk id="13" creationId="{51F28431-DC1F-4478-9C5E-5B9A2ACDC643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63D8BC-AD47-4BC0-9601-0CD9B99511E8}" type="datetimeFigureOut">
              <a:rPr lang="sv-SE" smtClean="0"/>
              <a:t>2021-08-1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5066C-261C-4C6D-909F-4B2DD8619E3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9527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448A5-9A67-42BC-831B-A0370CB5CE48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1146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2967" y="303976"/>
            <a:ext cx="11387738" cy="400110"/>
          </a:xfrm>
        </p:spPr>
        <p:txBody>
          <a:bodyPr/>
          <a:lstStyle>
            <a:lvl1pPr>
              <a:defRPr sz="2000"/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6984182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9401" y="0"/>
            <a:ext cx="8622600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4906600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E19DD1F-4F49-DA4B-A6C9-E41850CBDA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7679" y="0"/>
            <a:ext cx="8654321" cy="6871990"/>
          </a:xfrm>
          <a:prstGeom prst="rect">
            <a:avLst/>
          </a:prstGeom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3319982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9384" y="1"/>
            <a:ext cx="8422616" cy="687199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9817857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9384" y="1"/>
            <a:ext cx="8422616" cy="687199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8C8BEAAD-1069-CE40-9DFC-21637EA02B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59263"/>
      </p:ext>
    </p:extLst>
  </p:cSld>
  <p:clrMapOvr>
    <a:masterClrMapping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7632191"/>
      </p:ext>
    </p:extLst>
  </p:cSld>
  <p:clrMapOvr>
    <a:masterClrMapping/>
  </p:clrMapOvr>
  <p:transition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71715"/>
            <a:ext cx="5257800" cy="3449524"/>
          </a:xfrm>
        </p:spPr>
        <p:txBody>
          <a:bodyPr anchor="t" anchorCtr="0"/>
          <a:lstStyle>
            <a:lvl1pPr>
              <a:defRPr sz="5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682" y="2189407"/>
            <a:ext cx="5229359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6356350"/>
            <a:ext cx="861811" cy="365125"/>
          </a:xfrm>
        </p:spPr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2183051"/>
      </p:ext>
    </p:extLst>
  </p:cSld>
  <p:clrMapOvr>
    <a:masterClrMapping/>
  </p:clrMapOvr>
  <p:transition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71715"/>
            <a:ext cx="5257800" cy="3449524"/>
          </a:xfrm>
        </p:spPr>
        <p:txBody>
          <a:bodyPr anchor="t" anchorCtr="0"/>
          <a:lstStyle>
            <a:lvl1pPr>
              <a:defRPr sz="5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682" y="2189407"/>
            <a:ext cx="5229359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6356350"/>
            <a:ext cx="861811" cy="365125"/>
          </a:xfrm>
        </p:spPr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032236"/>
      </p:ext>
    </p:extLst>
  </p:cSld>
  <p:clrMapOvr>
    <a:masterClrMapping/>
  </p:clrMapOvr>
  <p:transition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71715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9407"/>
            <a:ext cx="5755783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33CE16AB-5778-F74B-95C1-2B302506D4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0655" y="2377202"/>
            <a:ext cx="5321345" cy="3806825"/>
          </a:xfrm>
        </p:spPr>
        <p:txBody>
          <a:bodyPr anchor="b" anchorCtr="0"/>
          <a:lstStyle>
            <a:lvl1pPr marL="0" indent="0">
              <a:buNone/>
              <a:defRPr sz="5000" b="1" i="0">
                <a:solidFill>
                  <a:schemeClr val="tx1"/>
                </a:solidFill>
                <a:latin typeface="Replica LL" panose="020B0504010101010104" pitchFamily="34" charset="77"/>
                <a:cs typeface="Replica LL" panose="020B0504010101010104" pitchFamily="34" charset="77"/>
              </a:defRPr>
            </a:lvl1pPr>
            <a:lvl2pPr marL="0" indent="0">
              <a:buNone/>
              <a:defRPr sz="4500">
                <a:solidFill>
                  <a:schemeClr val="bg1"/>
                </a:solidFill>
              </a:defRPr>
            </a:lvl2pPr>
            <a:lvl3pPr marL="0" indent="0">
              <a:buNone/>
              <a:defRPr sz="4500">
                <a:solidFill>
                  <a:schemeClr val="bg1"/>
                </a:solidFill>
              </a:defRPr>
            </a:lvl3pPr>
            <a:lvl4pPr marL="180000" indent="0">
              <a:buNone/>
              <a:defRPr sz="45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673738366"/>
      </p:ext>
    </p:extLst>
  </p:cSld>
  <p:clrMapOvr>
    <a:masterClrMapping/>
  </p:clrMapOvr>
  <p:transition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3570957-5C82-7942-BFC4-272920BE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65125"/>
            <a:ext cx="8836691" cy="5991225"/>
          </a:xfrm>
        </p:spPr>
        <p:txBody>
          <a:bodyPr anchor="ctr" anchorCtr="0"/>
          <a:lstStyle>
            <a:lvl1pPr>
              <a:defRPr sz="56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91032A-89B6-A840-BDA0-36B9C4065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A8C98A3-19E0-3949-906F-7C18E269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323FC2D-57A4-FB4F-8198-D8EB7D751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0892244"/>
      </p:ext>
    </p:extLst>
  </p:cSld>
  <p:clrMapOvr>
    <a:masterClrMapping/>
  </p:clrMapOvr>
  <p:transition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3570957-5C82-7942-BFC4-272920BEF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91032A-89B6-A840-BDA0-36B9C4065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A8C98A3-19E0-3949-906F-7C18E269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323FC2D-57A4-FB4F-8198-D8EB7D751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53675587"/>
      </p:ext>
    </p:extLst>
  </p:cSld>
  <p:clrMapOvr>
    <a:masterClrMapping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ADF791-F425-4F02-962D-8A46ED63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6826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1CE5DB5-FCCA-DF41-9222-458E43A32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2B1B333-B1B0-BE45-A6A2-47686C84F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5819008-AD45-6040-A1F6-6A40D542A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57394709"/>
      </p:ext>
    </p:extLst>
  </p:cSld>
  <p:clrMapOvr>
    <a:masterClrMapping/>
  </p:clrMapOvr>
  <p:transition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860F77DE-0A4B-D346-A424-20F0C963B53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3048000" cy="171608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2" name="Platshållare för bild 2">
            <a:extLst>
              <a:ext uri="{FF2B5EF4-FFF2-40B4-BE49-F238E27FC236}">
                <a16:creationId xmlns:a16="http://schemas.microsoft.com/office/drawing/2014/main" id="{1892B882-5350-9342-9575-C20B1906B6C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048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bild 2">
            <a:extLst>
              <a:ext uri="{FF2B5EF4-FFF2-40B4-BE49-F238E27FC236}">
                <a16:creationId xmlns:a16="http://schemas.microsoft.com/office/drawing/2014/main" id="{3D1954D2-F347-F548-B924-7E47889C87D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4" name="Platshållare för bild 2">
            <a:extLst>
              <a:ext uri="{FF2B5EF4-FFF2-40B4-BE49-F238E27FC236}">
                <a16:creationId xmlns:a16="http://schemas.microsoft.com/office/drawing/2014/main" id="{D52CAE42-3D8A-0745-9B1F-20402E3D65A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144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5" name="Platshållare för bild 2">
            <a:extLst>
              <a:ext uri="{FF2B5EF4-FFF2-40B4-BE49-F238E27FC236}">
                <a16:creationId xmlns:a16="http://schemas.microsoft.com/office/drawing/2014/main" id="{F48932E8-4BBB-5C4B-A1B9-07E458B146B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6" name="Platshållare för bild 2">
            <a:extLst>
              <a:ext uri="{FF2B5EF4-FFF2-40B4-BE49-F238E27FC236}">
                <a16:creationId xmlns:a16="http://schemas.microsoft.com/office/drawing/2014/main" id="{3960A5A6-E29A-A944-84C4-6DEA597BF5B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048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7" name="Platshållare för bild 2">
            <a:extLst>
              <a:ext uri="{FF2B5EF4-FFF2-40B4-BE49-F238E27FC236}">
                <a16:creationId xmlns:a16="http://schemas.microsoft.com/office/drawing/2014/main" id="{634F01E5-65AB-D048-9B54-8F559F15E0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6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8" name="Platshållare för bild 2">
            <a:extLst>
              <a:ext uri="{FF2B5EF4-FFF2-40B4-BE49-F238E27FC236}">
                <a16:creationId xmlns:a16="http://schemas.microsoft.com/office/drawing/2014/main" id="{2ACE8715-B8E9-B042-949E-C5675B3711D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144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9" name="Platshållare för bild 2">
            <a:extLst>
              <a:ext uri="{FF2B5EF4-FFF2-40B4-BE49-F238E27FC236}">
                <a16:creationId xmlns:a16="http://schemas.microsoft.com/office/drawing/2014/main" id="{72347196-D31A-FB47-A007-16C66A2CD08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0" name="Platshållare för bild 2">
            <a:extLst>
              <a:ext uri="{FF2B5EF4-FFF2-40B4-BE49-F238E27FC236}">
                <a16:creationId xmlns:a16="http://schemas.microsoft.com/office/drawing/2014/main" id="{8077910F-D35B-684A-B5DF-D55FBB78417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48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1" name="Platshållare för bild 2">
            <a:extLst>
              <a:ext uri="{FF2B5EF4-FFF2-40B4-BE49-F238E27FC236}">
                <a16:creationId xmlns:a16="http://schemas.microsoft.com/office/drawing/2014/main" id="{A99AF12A-93BF-4E43-A5FB-F77AF0B3C4B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2" name="Platshållare för bild 2">
            <a:extLst>
              <a:ext uri="{FF2B5EF4-FFF2-40B4-BE49-F238E27FC236}">
                <a16:creationId xmlns:a16="http://schemas.microsoft.com/office/drawing/2014/main" id="{D2EE17CC-C8E9-0D42-87B6-240853A6D2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4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3" name="Platshållare för bild 2">
            <a:extLst>
              <a:ext uri="{FF2B5EF4-FFF2-40B4-BE49-F238E27FC236}">
                <a16:creationId xmlns:a16="http://schemas.microsoft.com/office/drawing/2014/main" id="{94CA4D27-5E34-E14F-8031-28218B398D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4" name="Platshållare för bild 2">
            <a:extLst>
              <a:ext uri="{FF2B5EF4-FFF2-40B4-BE49-F238E27FC236}">
                <a16:creationId xmlns:a16="http://schemas.microsoft.com/office/drawing/2014/main" id="{A8047759-8F7E-A343-B5F3-5EF93AD2893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048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5" name="Platshållare för bild 2">
            <a:extLst>
              <a:ext uri="{FF2B5EF4-FFF2-40B4-BE49-F238E27FC236}">
                <a16:creationId xmlns:a16="http://schemas.microsoft.com/office/drawing/2014/main" id="{95D2774D-A824-AE49-BA47-15889E5DC5A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096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6" name="Platshållare för bild 2">
            <a:extLst>
              <a:ext uri="{FF2B5EF4-FFF2-40B4-BE49-F238E27FC236}">
                <a16:creationId xmlns:a16="http://schemas.microsoft.com/office/drawing/2014/main" id="{B8A9F71D-8E3E-9F49-8500-D3A0CC8B224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144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5408595"/>
      </p:ext>
    </p:extLst>
  </p:cSld>
  <p:clrMapOvr>
    <a:masterClrMapping/>
  </p:clrMapOvr>
  <p:transition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media 6">
            <a:extLst>
              <a:ext uri="{FF2B5EF4-FFF2-40B4-BE49-F238E27FC236}">
                <a16:creationId xmlns:a16="http://schemas.microsoft.com/office/drawing/2014/main" id="{BD6A36B0-B1C3-CA45-A137-624C421BA561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29" name="Platshållare för media 6">
            <a:extLst>
              <a:ext uri="{FF2B5EF4-FFF2-40B4-BE49-F238E27FC236}">
                <a16:creationId xmlns:a16="http://schemas.microsoft.com/office/drawing/2014/main" id="{621909BA-E38D-FE49-9C89-B180BEDCC254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3047247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30" name="Platshållare för media 6">
            <a:extLst>
              <a:ext uri="{FF2B5EF4-FFF2-40B4-BE49-F238E27FC236}">
                <a16:creationId xmlns:a16="http://schemas.microsoft.com/office/drawing/2014/main" id="{50257A8C-B5EE-0043-916D-8D808A3C776B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6094494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31" name="Platshållare för media 6">
            <a:extLst>
              <a:ext uri="{FF2B5EF4-FFF2-40B4-BE49-F238E27FC236}">
                <a16:creationId xmlns:a16="http://schemas.microsoft.com/office/drawing/2014/main" id="{FB008E54-F721-5140-89CE-6AEEC4DB7BB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9141742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48" name="Platshållare för media 6">
            <a:extLst>
              <a:ext uri="{FF2B5EF4-FFF2-40B4-BE49-F238E27FC236}">
                <a16:creationId xmlns:a16="http://schemas.microsoft.com/office/drawing/2014/main" id="{D9C06C11-AC43-B94D-8176-6CADCDBAEE40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0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49" name="Platshållare för media 6">
            <a:extLst>
              <a:ext uri="{FF2B5EF4-FFF2-40B4-BE49-F238E27FC236}">
                <a16:creationId xmlns:a16="http://schemas.microsoft.com/office/drawing/2014/main" id="{11455134-97F4-4E4B-93BB-63AF1BA0E475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3047247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50" name="Platshållare för media 6">
            <a:extLst>
              <a:ext uri="{FF2B5EF4-FFF2-40B4-BE49-F238E27FC236}">
                <a16:creationId xmlns:a16="http://schemas.microsoft.com/office/drawing/2014/main" id="{87C79725-3C7C-3B46-B0EF-2CCE170507F4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6094494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51" name="Platshållare för media 6">
            <a:extLst>
              <a:ext uri="{FF2B5EF4-FFF2-40B4-BE49-F238E27FC236}">
                <a16:creationId xmlns:a16="http://schemas.microsoft.com/office/drawing/2014/main" id="{3B043D5C-D27B-C84A-BAD0-7DB0E608CA1E}"/>
              </a:ext>
            </a:extLst>
          </p:cNvPr>
          <p:cNvSpPr>
            <a:spLocks noGrp="1"/>
          </p:cNvSpPr>
          <p:nvPr>
            <p:ph type="media" sz="quarter" idx="18"/>
          </p:nvPr>
        </p:nvSpPr>
        <p:spPr>
          <a:xfrm>
            <a:off x="9141742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media 6">
            <a:extLst>
              <a:ext uri="{FF2B5EF4-FFF2-40B4-BE49-F238E27FC236}">
                <a16:creationId xmlns:a16="http://schemas.microsoft.com/office/drawing/2014/main" id="{7077B017-CD4E-EE4B-853A-8B97A3E42F2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>
          <a:xfrm>
            <a:off x="0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latshållare för media 6">
            <a:extLst>
              <a:ext uri="{FF2B5EF4-FFF2-40B4-BE49-F238E27FC236}">
                <a16:creationId xmlns:a16="http://schemas.microsoft.com/office/drawing/2014/main" id="{89CE62A2-5FF7-CD45-B344-78D0FB3D353B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>
          <a:xfrm>
            <a:off x="3047247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latshållare för media 6">
            <a:extLst>
              <a:ext uri="{FF2B5EF4-FFF2-40B4-BE49-F238E27FC236}">
                <a16:creationId xmlns:a16="http://schemas.microsoft.com/office/drawing/2014/main" id="{D678E303-B5DC-D844-8B7B-864D58066BCC}"/>
              </a:ext>
            </a:extLst>
          </p:cNvPr>
          <p:cNvSpPr>
            <a:spLocks noGrp="1"/>
          </p:cNvSpPr>
          <p:nvPr>
            <p:ph type="media" sz="quarter" idx="21"/>
          </p:nvPr>
        </p:nvSpPr>
        <p:spPr>
          <a:xfrm>
            <a:off x="6094494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media 6">
            <a:extLst>
              <a:ext uri="{FF2B5EF4-FFF2-40B4-BE49-F238E27FC236}">
                <a16:creationId xmlns:a16="http://schemas.microsoft.com/office/drawing/2014/main" id="{BCB9C9F0-0D60-EB4B-9BE4-3B57DCCE0829}"/>
              </a:ext>
            </a:extLst>
          </p:cNvPr>
          <p:cNvSpPr>
            <a:spLocks noGrp="1"/>
          </p:cNvSpPr>
          <p:nvPr>
            <p:ph type="media" sz="quarter" idx="22"/>
          </p:nvPr>
        </p:nvSpPr>
        <p:spPr>
          <a:xfrm>
            <a:off x="9141742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4" name="Platshållare för media 6">
            <a:extLst>
              <a:ext uri="{FF2B5EF4-FFF2-40B4-BE49-F238E27FC236}">
                <a16:creationId xmlns:a16="http://schemas.microsoft.com/office/drawing/2014/main" id="{762E7F53-9AC2-144D-855D-932B51FB940C}"/>
              </a:ext>
            </a:extLst>
          </p:cNvPr>
          <p:cNvSpPr>
            <a:spLocks noGrp="1"/>
          </p:cNvSpPr>
          <p:nvPr>
            <p:ph type="media" sz="quarter" idx="23"/>
          </p:nvPr>
        </p:nvSpPr>
        <p:spPr>
          <a:xfrm>
            <a:off x="0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5" name="Platshållare för media 6">
            <a:extLst>
              <a:ext uri="{FF2B5EF4-FFF2-40B4-BE49-F238E27FC236}">
                <a16:creationId xmlns:a16="http://schemas.microsoft.com/office/drawing/2014/main" id="{6977A387-7744-9449-940F-714D8D88F46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3047247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6" name="Platshållare för media 6">
            <a:extLst>
              <a:ext uri="{FF2B5EF4-FFF2-40B4-BE49-F238E27FC236}">
                <a16:creationId xmlns:a16="http://schemas.microsoft.com/office/drawing/2014/main" id="{D9C23611-11E3-F546-9F2A-261B447B123C}"/>
              </a:ext>
            </a:extLst>
          </p:cNvPr>
          <p:cNvSpPr>
            <a:spLocks noGrp="1"/>
          </p:cNvSpPr>
          <p:nvPr>
            <p:ph type="media" sz="quarter" idx="25"/>
          </p:nvPr>
        </p:nvSpPr>
        <p:spPr>
          <a:xfrm>
            <a:off x="6094494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7" name="Platshållare för media 6">
            <a:extLst>
              <a:ext uri="{FF2B5EF4-FFF2-40B4-BE49-F238E27FC236}">
                <a16:creationId xmlns:a16="http://schemas.microsoft.com/office/drawing/2014/main" id="{C013D59D-A890-E347-8CE7-9DF3EFCB3E30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9141742" y="5142230"/>
            <a:ext cx="3050258" cy="171577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3920039"/>
      </p:ext>
    </p:extLst>
  </p:cSld>
  <p:clrMapOvr>
    <a:masterClrMapping/>
  </p:clrMapOvr>
  <p:transition>
    <p:fade thruBlk="1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nkter (kopi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Brödtext nivå ett…"/>
          <p:cNvSpPr txBox="1">
            <a:spLocks noGrp="1"/>
          </p:cNvSpPr>
          <p:nvPr>
            <p:ph type="body" idx="1"/>
          </p:nvPr>
        </p:nvSpPr>
        <p:spPr>
          <a:xfrm>
            <a:off x="844550" y="889000"/>
            <a:ext cx="10502900" cy="5073650"/>
          </a:xfrm>
          <a:prstGeom prst="rect">
            <a:avLst/>
          </a:prstGeom>
        </p:spPr>
        <p:txBody>
          <a:bodyPr/>
          <a:lstStyle>
            <a:lvl1pPr marL="152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1pPr>
            <a:lvl2pPr marL="4701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2pPr>
            <a:lvl3pPr marL="787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3pPr>
            <a:lvl4pPr marL="11051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4pPr>
            <a:lvl5pPr marL="1422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5pPr>
          </a:lstStyle>
          <a:p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ett</a:t>
            </a:r>
            <a:endParaRPr dirty="0"/>
          </a:p>
          <a:p>
            <a:pPr lvl="1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två</a:t>
            </a:r>
            <a:endParaRPr dirty="0"/>
          </a:p>
          <a:p>
            <a:pPr lvl="2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tre</a:t>
            </a:r>
            <a:endParaRPr dirty="0"/>
          </a:p>
          <a:p>
            <a:pPr lvl="3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fyra</a:t>
            </a:r>
            <a:endParaRPr dirty="0"/>
          </a:p>
          <a:p>
            <a:pPr lvl="4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fem</a:t>
            </a:r>
          </a:p>
        </p:txBody>
      </p:sp>
      <p:sp>
        <p:nvSpPr>
          <p:cNvPr id="477" name="Diabildsnumm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306174" cy="28725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835557"/>
      </p:ext>
    </p:extLst>
  </p:cSld>
  <p:clrMapOvr>
    <a:masterClrMapping/>
  </p:clrMapOvr>
  <p:transition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ADF791-F425-4F02-962D-8A46ED63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266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unkter (kopia)">
    <p:bg>
      <p:bgPr>
        <a:solidFill>
          <a:srgbClr val="FFFF00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73CD70A6-CDA6-5142-9D9A-71343DD15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Bild" descr="Bild">
            <a:extLst>
              <a:ext uri="{FF2B5EF4-FFF2-40B4-BE49-F238E27FC236}">
                <a16:creationId xmlns:a16="http://schemas.microsoft.com/office/drawing/2014/main" id="{D74C43AE-BE70-2747-8138-69F4B260E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8200239-4E55-1943-B2A7-70CB9D8BE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72534"/>
            <a:ext cx="9205913" cy="2372783"/>
          </a:xfrm>
        </p:spPr>
        <p:txBody>
          <a:bodyPr/>
          <a:lstStyle>
            <a:lvl1pPr>
              <a:lnSpc>
                <a:spcPct val="80000"/>
              </a:lnSpc>
              <a:defRPr sz="6500" b="0" i="0">
                <a:latin typeface="Replica Pro Light" panose="02000503030000020004" pitchFamily="2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8D577CA-9AE6-4940-B165-6D7EA2DCC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2000" y="2895600"/>
            <a:ext cx="9205913" cy="3158332"/>
          </a:xfrm>
        </p:spPr>
        <p:txBody>
          <a:bodyPr/>
          <a:lstStyle>
            <a:lvl1pPr marL="0" indent="0">
              <a:lnSpc>
                <a:spcPct val="99000"/>
              </a:lnSpc>
              <a:spcBef>
                <a:spcPts val="0"/>
              </a:spcBef>
              <a:buNone/>
              <a:defRPr sz="2000"/>
            </a:lvl1pPr>
            <a:lvl2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3pPr>
            <a:lvl4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4pPr>
            <a:lvl5pPr marL="36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CB1B32D2-A523-3445-9E7D-2455AC188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2975" y="6356350"/>
            <a:ext cx="4114800" cy="365125"/>
          </a:xfrm>
        </p:spPr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44DBD44D-947B-9B4A-9E7B-42F4BB764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datum 10">
            <a:extLst>
              <a:ext uri="{FF2B5EF4-FFF2-40B4-BE49-F238E27FC236}">
                <a16:creationId xmlns:a16="http://schemas.microsoft.com/office/drawing/2014/main" id="{6F61534D-0BA0-0A4A-A4FF-38182DB37A5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8182804"/>
      </p:ext>
    </p:extLst>
  </p:cSld>
  <p:clrMapOvr>
    <a:masterClrMapping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unkter (kopia)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73CD70A6-CDA6-5142-9D9A-71343DD15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Bild" descr="Bild">
            <a:extLst>
              <a:ext uri="{FF2B5EF4-FFF2-40B4-BE49-F238E27FC236}">
                <a16:creationId xmlns:a16="http://schemas.microsoft.com/office/drawing/2014/main" id="{D74C43AE-BE70-2747-8138-69F4B260E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8200239-4E55-1943-B2A7-70CB9D8BE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2975" y="372534"/>
            <a:ext cx="9205913" cy="2372783"/>
          </a:xfrm>
        </p:spPr>
        <p:txBody>
          <a:bodyPr/>
          <a:lstStyle>
            <a:lvl1pPr>
              <a:lnSpc>
                <a:spcPct val="80000"/>
              </a:lnSpc>
              <a:defRPr sz="6500" b="0" i="0">
                <a:latin typeface="Replica Pro Light" panose="02000503030000020004" pitchFamily="2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8D577CA-9AE6-4940-B165-6D7EA2DCC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2975" y="2895600"/>
            <a:ext cx="9205913" cy="3158332"/>
          </a:xfrm>
        </p:spPr>
        <p:txBody>
          <a:bodyPr/>
          <a:lstStyle>
            <a:lvl1pPr marL="0" indent="0">
              <a:lnSpc>
                <a:spcPct val="99000"/>
              </a:lnSpc>
              <a:spcBef>
                <a:spcPts val="0"/>
              </a:spcBef>
              <a:buNone/>
              <a:defRPr sz="2000"/>
            </a:lvl1pPr>
            <a:lvl2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3pPr>
            <a:lvl4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4pPr>
            <a:lvl5pPr marL="36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CB1B32D2-A523-3445-9E7D-2455AC188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2975" y="6356350"/>
            <a:ext cx="4114800" cy="365125"/>
          </a:xfrm>
        </p:spPr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44DBD44D-947B-9B4A-9E7B-42F4BB764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datum 10">
            <a:extLst>
              <a:ext uri="{FF2B5EF4-FFF2-40B4-BE49-F238E27FC236}">
                <a16:creationId xmlns:a16="http://schemas.microsoft.com/office/drawing/2014/main" id="{6F61534D-0BA0-0A4A-A4FF-38182DB37A5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4450773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2225308"/>
      </p:ext>
    </p:extLst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2737AF6E-7191-0A48-A64C-AA09618BB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ild" descr="Bild">
            <a:extLst>
              <a:ext uri="{FF2B5EF4-FFF2-40B4-BE49-F238E27FC236}">
                <a16:creationId xmlns:a16="http://schemas.microsoft.com/office/drawing/2014/main" id="{A363B5D9-72D3-B642-836A-482F3978F9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7512632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Rubrik och innehåll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2737AF6E-7191-0A48-A64C-AA09618BB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ild" descr="Bild">
            <a:extLst>
              <a:ext uri="{FF2B5EF4-FFF2-40B4-BE49-F238E27FC236}">
                <a16:creationId xmlns:a16="http://schemas.microsoft.com/office/drawing/2014/main" id="{A363B5D9-72D3-B642-836A-482F3978F9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894953"/>
            <a:ext cx="10515600" cy="3987555"/>
          </a:xfrm>
        </p:spPr>
        <p:txBody>
          <a:bodyPr numCol="2" spcCol="504000"/>
          <a:lstStyle>
            <a:lvl1pPr marL="0" indent="0">
              <a:lnSpc>
                <a:spcPct val="110000"/>
              </a:lnSpc>
              <a:buNone/>
              <a:defRPr sz="1800"/>
            </a:lvl1pPr>
            <a:lvl2pPr marL="0" indent="0">
              <a:lnSpc>
                <a:spcPct val="110000"/>
              </a:lnSpc>
              <a:buNone/>
              <a:defRPr/>
            </a:lvl2pPr>
            <a:lvl3pPr marL="0" indent="0">
              <a:lnSpc>
                <a:spcPct val="110000"/>
              </a:lnSpc>
              <a:buNone/>
              <a:defRPr/>
            </a:lvl3pPr>
            <a:lvl4pPr marL="0" indent="0">
              <a:lnSpc>
                <a:spcPct val="110000"/>
              </a:lnSpc>
              <a:buNone/>
              <a:defRPr/>
            </a:lvl4pPr>
            <a:lvl5pPr marL="0" indent="0">
              <a:lnSpc>
                <a:spcPct val="110000"/>
              </a:lnSpc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39814938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81038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189407"/>
            <a:ext cx="4976611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33CE16AB-5778-F74B-95C1-2B302506D4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9590" y="2377202"/>
            <a:ext cx="5321345" cy="3806825"/>
          </a:xfrm>
        </p:spPr>
        <p:txBody>
          <a:bodyPr anchor="b" anchorCtr="0"/>
          <a:lstStyle>
            <a:lvl1pPr marL="0" indent="0">
              <a:lnSpc>
                <a:spcPct val="85000"/>
              </a:lnSpc>
              <a:buNone/>
              <a:defRPr sz="5600" b="1" i="0">
                <a:solidFill>
                  <a:schemeClr val="bg1"/>
                </a:solidFill>
                <a:latin typeface="Replica LL" panose="020B0504010101010104" pitchFamily="34" charset="77"/>
                <a:cs typeface="Replica LL" panose="020B0504010101010104" pitchFamily="34" charset="77"/>
              </a:defRPr>
            </a:lvl1pPr>
            <a:lvl2pPr marL="0" indent="0">
              <a:buNone/>
              <a:defRPr sz="4500">
                <a:solidFill>
                  <a:schemeClr val="bg1"/>
                </a:solidFill>
              </a:defRPr>
            </a:lvl2pPr>
            <a:lvl3pPr marL="0" indent="0">
              <a:buNone/>
              <a:defRPr sz="4500">
                <a:solidFill>
                  <a:schemeClr val="bg1"/>
                </a:solidFill>
              </a:defRPr>
            </a:lvl3pPr>
            <a:lvl4pPr marL="180000" indent="0">
              <a:buNone/>
              <a:defRPr sz="45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965419393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 descr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6318" y="0"/>
            <a:ext cx="6188488" cy="6872073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Rektangel">
            <a:extLst>
              <a:ext uri="{FF2B5EF4-FFF2-40B4-BE49-F238E27FC236}">
                <a16:creationId xmlns:a16="http://schemas.microsoft.com/office/drawing/2014/main" id="{7E893F1C-E58F-A847-B7F9-7708B0E67D74}"/>
              </a:ext>
            </a:extLst>
          </p:cNvPr>
          <p:cNvSpPr/>
          <p:nvPr userDrawn="1"/>
        </p:nvSpPr>
        <p:spPr>
          <a:xfrm>
            <a:off x="6135533" y="-1"/>
            <a:ext cx="6109273" cy="6871991"/>
          </a:xfrm>
          <a:prstGeom prst="rect">
            <a:avLst/>
          </a:prstGeom>
          <a:solidFill>
            <a:srgbClr val="F6D735">
              <a:alpha val="60387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>
              <a:lnSpc>
                <a:spcPct val="120000"/>
              </a:lnSpc>
              <a:defRPr sz="5000">
                <a:solidFill>
                  <a:schemeClr val="accent3">
                    <a:satOff val="18648"/>
                    <a:lumOff val="5971"/>
                  </a:schemeClr>
                </a:solidFill>
                <a:latin typeface="Gilroy ExtraBold"/>
                <a:ea typeface="Gilroy ExtraBold"/>
                <a:cs typeface="Gilroy ExtraBold"/>
                <a:sym typeface="Gilroy ExtraBold"/>
              </a:defRPr>
            </a:pPr>
            <a:endParaRPr sz="2500"/>
          </a:p>
        </p:txBody>
      </p:sp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3043488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heme" Target="../theme/theme2.xml"/><Relationship Id="rId28" Type="http://schemas.openxmlformats.org/officeDocument/2006/relationships/image" Target="../media/image6.svg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2AD985-25D8-4626-90A5-3940D6E2F0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643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2AD985-25D8-4626-90A5-3940D6E2F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53AC8A-7B74-4100-B23B-AEAA90BAA1C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50000"/>
              </a:spcBef>
            </a:pPr>
            <a:endParaRPr lang="sv-SE" sz="3200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2967" y="214314"/>
            <a:ext cx="8409517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/>
              <a:t>Klicka här för att ändra format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4867" y="1073151"/>
            <a:ext cx="8409517" cy="1163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cxnSp>
        <p:nvCxnSpPr>
          <p:cNvPr id="5128" name="Rak 10"/>
          <p:cNvCxnSpPr>
            <a:cxnSpLocks noChangeShapeType="1"/>
          </p:cNvCxnSpPr>
          <p:nvPr/>
        </p:nvCxnSpPr>
        <p:spPr bwMode="auto">
          <a:xfrm>
            <a:off x="1" y="904875"/>
            <a:ext cx="12189884" cy="1588"/>
          </a:xfrm>
          <a:prstGeom prst="line">
            <a:avLst/>
          </a:prstGeom>
          <a:noFill/>
          <a:ln w="19050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5129" name="Rak 12"/>
          <p:cNvCxnSpPr>
            <a:cxnSpLocks noChangeShapeType="1"/>
          </p:cNvCxnSpPr>
          <p:nvPr/>
        </p:nvCxnSpPr>
        <p:spPr bwMode="auto">
          <a:xfrm>
            <a:off x="2117" y="6113914"/>
            <a:ext cx="12189884" cy="1587"/>
          </a:xfrm>
          <a:prstGeom prst="line">
            <a:avLst/>
          </a:prstGeom>
          <a:noFill/>
          <a:ln w="19050" algn="ctr">
            <a:solidFill>
              <a:schemeClr val="tx2"/>
            </a:solidFill>
            <a:round/>
            <a:headEnd/>
            <a:tailEnd/>
          </a:ln>
        </p:spPr>
      </p:cxnSp>
      <p:pic>
        <p:nvPicPr>
          <p:cNvPr id="5" name="Picture 7" descr="RK_logga_RGB_screen">
            <a:extLst>
              <a:ext uri="{FF2B5EF4-FFF2-40B4-BE49-F238E27FC236}">
                <a16:creationId xmlns:a16="http://schemas.microsoft.com/office/drawing/2014/main" id="{6190843D-7688-47CD-BE65-66102BF11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75650" y="6375061"/>
            <a:ext cx="1765302" cy="184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46C3F2B0-3BA7-4817-8DF1-4219E60454F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16" y="6317456"/>
            <a:ext cx="1065972" cy="30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99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F230EE0-130B-4212-87F4-2FD870BF5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5791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3" progId="TCLayout.ActiveDocument.1">
                  <p:embed/>
                </p:oleObj>
              </mc:Choice>
              <mc:Fallback>
                <p:oleObj name="think-cell Slide" r:id="rId25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F230EE0-130B-4212-87F4-2FD870BF5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3AB0CC3-E897-BA4B-A150-4ACDEC224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787384A-C454-9644-AC53-44F1372798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2189407"/>
            <a:ext cx="10515600" cy="39875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6C9B84A-7185-364E-9FD2-E494DCC236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000" y="6356350"/>
            <a:ext cx="861811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44F0B36-81CC-C246-93E9-4F4C08E56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2000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A935DAE-93C6-D349-BD1D-6096E63C01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0150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fld id="{A3BA8F2B-E754-644D-934E-290DF3C0156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 6">
            <a:extLst>
              <a:ext uri="{FF2B5EF4-FFF2-40B4-BE49-F238E27FC236}">
                <a16:creationId xmlns:a16="http://schemas.microsoft.com/office/drawing/2014/main" id="{E16D790F-56C2-4C43-978B-8C86C858ECA7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900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</p:sldLayoutIdLst>
  <p:transition>
    <p:fade thruBlk="1"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Replica LL" panose="020B0504010101010104" pitchFamily="34" charset="77"/>
          <a:ea typeface="+mj-ea"/>
          <a:cs typeface="Replica LL" panose="020B0504010101010104" pitchFamily="34" charset="77"/>
        </a:defRPr>
      </a:lvl1pPr>
    </p:titleStyle>
    <p:bodyStyle>
      <a:lvl1pPr marL="180000" indent="-180000" algn="l" defTabSz="914400" rtl="0" eaLnBrk="1" latinLnBrk="0" hangingPunct="1">
        <a:lnSpc>
          <a:spcPct val="99000"/>
        </a:lnSpc>
        <a:spcBef>
          <a:spcPts val="10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1pPr>
      <a:lvl2pPr marL="18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2pPr>
      <a:lvl3pPr marL="18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3pPr>
      <a:lvl4pPr marL="36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4pPr>
      <a:lvl5pPr marL="0" indent="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independentaustralia.net/life/life-display/david-suzuki-says-wind-turbines-not-the-problem,5252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1.png"/><Relationship Id="rId5" Type="http://schemas.openxmlformats.org/officeDocument/2006/relationships/image" Target="../media/image4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3">
            <a:extLst>
              <a:ext uri="{FF2B5EF4-FFF2-40B4-BE49-F238E27FC236}">
                <a16:creationId xmlns:a16="http://schemas.microsoft.com/office/drawing/2014/main" id="{05486F8D-6578-4C24-90CF-8F36421D805D}"/>
              </a:ext>
            </a:extLst>
          </p:cNvPr>
          <p:cNvSpPr txBox="1">
            <a:spLocks/>
          </p:cNvSpPr>
          <p:nvPr/>
        </p:nvSpPr>
        <p:spPr>
          <a:xfrm>
            <a:off x="5656072" y="3746991"/>
            <a:ext cx="6331114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600" b="1" i="0" kern="1200">
                <a:solidFill>
                  <a:schemeClr val="tx1"/>
                </a:solidFill>
                <a:latin typeface="Replica LL" panose="020B0504010101010104" pitchFamily="34" charset="77"/>
                <a:ea typeface="+mj-ea"/>
                <a:cs typeface="Replica LL" panose="020B05040101010101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Competitor</a:t>
            </a:r>
            <a:r>
              <a:rPr kumimoji="0" lang="sv-SE" sz="5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  <a:r>
              <a:rPr kumimoji="0" lang="sv-SE" sz="5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Analysis</a:t>
            </a:r>
            <a:endParaRPr kumimoji="0" lang="sv-SE" sz="5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eplica LL" panose="020B0504010101010104" pitchFamily="34" charset="77"/>
              <a:ea typeface="+mj-ea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Robin Falcon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C9B89A13-5965-4702-B6BF-4F86EEA3B546}"/>
              </a:ext>
            </a:extLst>
          </p:cNvPr>
          <p:cNvSpPr txBox="1">
            <a:spLocks/>
          </p:cNvSpPr>
          <p:nvPr/>
        </p:nvSpPr>
        <p:spPr>
          <a:xfrm>
            <a:off x="258650" y="5697059"/>
            <a:ext cx="5220040" cy="659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g 2021</a:t>
            </a:r>
            <a:endParaRPr kumimoji="0" lang="en-GB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Pressmaterial - OX2">
            <a:extLst>
              <a:ext uri="{FF2B5EF4-FFF2-40B4-BE49-F238E27FC236}">
                <a16:creationId xmlns:a16="http://schemas.microsoft.com/office/drawing/2014/main" id="{1D803F93-D384-4ECC-891D-2B68845D0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3500438"/>
            <a:ext cx="2705100" cy="109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9C34064E-698A-46AE-A8D3-12CA7E24EFB9}"/>
              </a:ext>
            </a:extLst>
          </p:cNvPr>
          <p:cNvSpPr/>
          <p:nvPr/>
        </p:nvSpPr>
        <p:spPr>
          <a:xfrm>
            <a:off x="10020300" y="40005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6064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 2">
            <a:extLst>
              <a:ext uri="{FF2B5EF4-FFF2-40B4-BE49-F238E27FC236}">
                <a16:creationId xmlns:a16="http://schemas.microsoft.com/office/drawing/2014/main" id="{39175482-880B-437E-96AA-93AB15CC2A0E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AC94ABD4-1FD5-4857-B56C-1A42C8CDF917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gmail-m_-1096810548589881039gmail-m_8387661388435310548Bild 7">
              <a:extLst>
                <a:ext uri="{FF2B5EF4-FFF2-40B4-BE49-F238E27FC236}">
                  <a16:creationId xmlns:a16="http://schemas.microsoft.com/office/drawing/2014/main" id="{90F2FB81-3620-4368-A2E0-C7D9CE46E9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Rektangel 5">
            <a:extLst>
              <a:ext uri="{FF2B5EF4-FFF2-40B4-BE49-F238E27FC236}">
                <a16:creationId xmlns:a16="http://schemas.microsoft.com/office/drawing/2014/main" id="{3BEB5697-00C3-4157-87D1-3346D2617511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6D80FB0-CDB1-4429-9A06-E3F3D8DCAF99}"/>
              </a:ext>
            </a:extLst>
          </p:cNvPr>
          <p:cNvSpPr txBox="1">
            <a:spLocks/>
          </p:cNvSpPr>
          <p:nvPr/>
        </p:nvSpPr>
        <p:spPr bwMode="auto">
          <a:xfrm>
            <a:off x="452967" y="119311"/>
            <a:ext cx="995166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OX2’s </a:t>
            </a:r>
            <a:r>
              <a:rPr kumimoji="0" lang="sv-SE" sz="2400" b="1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ind</a:t>
            </a:r>
            <a: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400" b="1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ower</a:t>
            </a:r>
            <a: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portfolio</a:t>
            </a:r>
            <a:b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ompetitor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nalysis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on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ind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ower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ojects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”In Operation”</a:t>
            </a:r>
            <a:endParaRPr kumimoji="0" lang="sv-SE" sz="2400" b="1" i="0" u="none" strike="noStrike" kern="0" cap="none" spc="0" normalizeH="0" baseline="0" noProof="0" dirty="0">
              <a:ln>
                <a:noFill/>
              </a:ln>
              <a:solidFill>
                <a:srgbClr val="829AA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F2F3855-9E9B-4BC2-87A6-D154DE54D98B}"/>
              </a:ext>
            </a:extLst>
          </p:cNvPr>
          <p:cNvSpPr/>
          <p:nvPr/>
        </p:nvSpPr>
        <p:spPr bwMode="auto">
          <a:xfrm>
            <a:off x="1272189" y="1308614"/>
            <a:ext cx="1569592" cy="165429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</a:t>
            </a:r>
            <a:endParaRPr kumimoji="0" lang="sv-S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65038B0-8F3E-4677-A7ED-3EE8CA25027E}"/>
              </a:ext>
            </a:extLst>
          </p:cNvPr>
          <p:cNvSpPr/>
          <p:nvPr/>
        </p:nvSpPr>
        <p:spPr>
          <a:xfrm>
            <a:off x="3142194" y="1308614"/>
            <a:ext cx="7462460" cy="16542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t">
            <a:spAutoFit/>
          </a:bodyPr>
          <a:lstStyle/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ape the development portfolio of competitors (other wind developers)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 project information regarding each project (total height, # turbines, production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c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se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tential trends:</a:t>
            </a:r>
          </a:p>
          <a:p>
            <a:pPr marL="742950" lvl="2" indent="-285750">
              <a:spcBef>
                <a:spcPts val="300"/>
              </a:spcBef>
              <a:buFont typeface="Courier New" panose="02070309020205020404" pitchFamily="49" charset="0"/>
              <a:buChar char="o"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ment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damenta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2" indent="-285750">
              <a:spcBef>
                <a:spcPts val="300"/>
              </a:spcBef>
              <a:buFont typeface="Courier New" panose="02070309020205020404" pitchFamily="49" charset="0"/>
              <a:buChar char="o"/>
            </a:pP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ction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ment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2" indent="-285750">
              <a:spcBef>
                <a:spcPts val="300"/>
              </a:spcBef>
              <a:buFont typeface="Courier New" panose="02070309020205020404" pitchFamily="49" charset="0"/>
              <a:buChar char="o"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ice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rbine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lier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B3C6453-7645-454D-9B26-7ABB5FB3379D}"/>
              </a:ext>
            </a:extLst>
          </p:cNvPr>
          <p:cNvSpPr/>
          <p:nvPr/>
        </p:nvSpPr>
        <p:spPr bwMode="auto">
          <a:xfrm>
            <a:off x="1272189" y="4605899"/>
            <a:ext cx="1569592" cy="89255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hod</a:t>
            </a:r>
            <a:endParaRPr kumimoji="0" lang="sv-S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E173B0D6-8628-4F9E-B2C5-AB70FB189859}"/>
              </a:ext>
            </a:extLst>
          </p:cNvPr>
          <p:cNvSpPr/>
          <p:nvPr/>
        </p:nvSpPr>
        <p:spPr>
          <a:xfrm>
            <a:off x="3142193" y="4605899"/>
            <a:ext cx="7462460" cy="89255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t">
            <a:spAutoFit/>
          </a:bodyPr>
          <a:lstStyle/>
          <a:p>
            <a:pPr marL="400050" marR="0" lvl="1" indent="-400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romanLcPeriod"/>
              <a:tabLst/>
              <a:defRPr/>
            </a:pPr>
            <a:r>
              <a:rPr lang="en-US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 parameters necessary for competitor analysis</a:t>
            </a:r>
          </a:p>
          <a:p>
            <a:pPr marL="400050" marR="0" lvl="1" indent="-400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romanL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bscrap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sing </a:t>
            </a:r>
            <a:r>
              <a:rPr lang="en-US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lenium &amp; Beautiful Soup</a:t>
            </a:r>
          </a:p>
          <a:p>
            <a:pPr marL="400050" marR="0" lvl="1" indent="-400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romanL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, clean &amp;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s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data collected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3EA530FD-CA68-4246-892E-01E07542521A}"/>
              </a:ext>
            </a:extLst>
          </p:cNvPr>
          <p:cNvSpPr/>
          <p:nvPr/>
        </p:nvSpPr>
        <p:spPr bwMode="auto">
          <a:xfrm>
            <a:off x="1272189" y="3338130"/>
            <a:ext cx="1569592" cy="89255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earch </a:t>
            </a:r>
            <a:b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stions</a:t>
            </a:r>
            <a:endParaRPr kumimoji="0" lang="sv-S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5164B05D-D85D-4DE2-A069-5FC61D3DEC84}"/>
              </a:ext>
            </a:extLst>
          </p:cNvPr>
          <p:cNvSpPr/>
          <p:nvPr/>
        </p:nvSpPr>
        <p:spPr>
          <a:xfrm>
            <a:off x="3142193" y="3338130"/>
            <a:ext cx="7462460" cy="89255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t">
            <a:spAutoFit/>
          </a:bodyPr>
          <a:lstStyle/>
          <a:p>
            <a:pPr marL="400050" marR="0" lvl="1" indent="-400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lang="en-US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is OX2’s </a:t>
            </a:r>
            <a:r>
              <a:rPr lang="en-US" sz="14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erage project</a:t>
            </a:r>
            <a:r>
              <a:rPr lang="en-US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400050" marR="0" lvl="1" indent="-400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lang="en-US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X2’s annual production development for wind power projects?</a:t>
            </a:r>
          </a:p>
          <a:p>
            <a:pPr marL="400050" marR="0" lvl="1" indent="-400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es OX2 have a preferred turbine supplier?</a:t>
            </a:r>
            <a:endParaRPr lang="en-US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8A6EBF94-51E8-4FFF-9165-A480290E59B7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5770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E63C9D3A-7A2D-4EFC-B554-E5D34869333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876"/>
          <a:stretch/>
        </p:blipFill>
        <p:spPr>
          <a:xfrm>
            <a:off x="529167" y="1550831"/>
            <a:ext cx="4471458" cy="432671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4707654D-84DB-44AE-B064-31FBB2740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1270" y="3963015"/>
            <a:ext cx="5722423" cy="1778663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A2A4E239-4C5F-417C-A7D2-58A89A88BDF1}"/>
              </a:ext>
            </a:extLst>
          </p:cNvPr>
          <p:cNvSpPr txBox="1"/>
          <p:nvPr/>
        </p:nvSpPr>
        <p:spPr>
          <a:xfrm>
            <a:off x="343702" y="1113850"/>
            <a:ext cx="48423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dirty="0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Excerpt from </a:t>
            </a:r>
            <a:r>
              <a:rPr lang="sv-SE" sz="1400" dirty="0" err="1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website</a:t>
            </a:r>
            <a:r>
              <a:rPr lang="sv-SE" sz="1400" dirty="0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used</a:t>
            </a:r>
            <a:r>
              <a:rPr lang="sv-SE" sz="1400" dirty="0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 for data </a:t>
            </a:r>
            <a:r>
              <a:rPr lang="sv-SE" sz="1400" dirty="0" err="1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collection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898BDE4-A473-4157-98CF-CF502B3FE142}"/>
              </a:ext>
            </a:extLst>
          </p:cNvPr>
          <p:cNvSpPr/>
          <p:nvPr/>
        </p:nvSpPr>
        <p:spPr bwMode="auto">
          <a:xfrm>
            <a:off x="4191000" y="4348779"/>
            <a:ext cx="819150" cy="1613872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A5E3855-E2AE-44B2-89F1-9B02B2479A1A}"/>
              </a:ext>
            </a:extLst>
          </p:cNvPr>
          <p:cNvSpPr/>
          <p:nvPr/>
        </p:nvSpPr>
        <p:spPr bwMode="auto">
          <a:xfrm rot="5400000">
            <a:off x="1006352" y="997446"/>
            <a:ext cx="669112" cy="1775883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A7284556-1A51-43DF-A085-49901CFA02FE}"/>
              </a:ext>
            </a:extLst>
          </p:cNvPr>
          <p:cNvSpPr/>
          <p:nvPr/>
        </p:nvSpPr>
        <p:spPr bwMode="auto">
          <a:xfrm>
            <a:off x="452966" y="4705966"/>
            <a:ext cx="1413934" cy="1256684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73790EC2-8F99-450F-A8E8-252794BEA664}"/>
              </a:ext>
            </a:extLst>
          </p:cNvPr>
          <p:cNvSpPr/>
          <p:nvPr/>
        </p:nvSpPr>
        <p:spPr bwMode="auto">
          <a:xfrm>
            <a:off x="2777066" y="3963015"/>
            <a:ext cx="1051984" cy="31432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14" name="Likbent triangel 13">
            <a:extLst>
              <a:ext uri="{FF2B5EF4-FFF2-40B4-BE49-F238E27FC236}">
                <a16:creationId xmlns:a16="http://schemas.microsoft.com/office/drawing/2014/main" id="{6FCD397A-C66B-47E9-97E6-991F68665513}"/>
              </a:ext>
            </a:extLst>
          </p:cNvPr>
          <p:cNvSpPr/>
          <p:nvPr/>
        </p:nvSpPr>
        <p:spPr bwMode="auto">
          <a:xfrm rot="5400000">
            <a:off x="4829175" y="3524250"/>
            <a:ext cx="1657350" cy="228600"/>
          </a:xfrm>
          <a:prstGeom prst="triangle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260482B1-4773-4BCD-810D-2B0ADA02B324}"/>
              </a:ext>
            </a:extLst>
          </p:cNvPr>
          <p:cNvSpPr txBox="1"/>
          <p:nvPr/>
        </p:nvSpPr>
        <p:spPr>
          <a:xfrm>
            <a:off x="6441290" y="1118612"/>
            <a:ext cx="48423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dirty="0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Data </a:t>
            </a:r>
            <a:r>
              <a:rPr lang="sv-SE" sz="1400" dirty="0" err="1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collected</a:t>
            </a:r>
            <a:r>
              <a:rPr lang="sv-SE" sz="1400" dirty="0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 from </a:t>
            </a:r>
            <a:r>
              <a:rPr lang="sv-SE" sz="1400" dirty="0" err="1">
                <a:solidFill>
                  <a:srgbClr val="3F505F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webscraping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7" name="Rak koppling 16">
            <a:extLst>
              <a:ext uri="{FF2B5EF4-FFF2-40B4-BE49-F238E27FC236}">
                <a16:creationId xmlns:a16="http://schemas.microsoft.com/office/drawing/2014/main" id="{932F1198-5543-4747-A5F0-D46C31A93FAA}"/>
              </a:ext>
            </a:extLst>
          </p:cNvPr>
          <p:cNvCxnSpPr>
            <a:cxnSpLocks/>
          </p:cNvCxnSpPr>
          <p:nvPr/>
        </p:nvCxnSpPr>
        <p:spPr bwMode="auto">
          <a:xfrm>
            <a:off x="452966" y="1366879"/>
            <a:ext cx="4656923" cy="0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ak koppling 17">
            <a:extLst>
              <a:ext uri="{FF2B5EF4-FFF2-40B4-BE49-F238E27FC236}">
                <a16:creationId xmlns:a16="http://schemas.microsoft.com/office/drawing/2014/main" id="{2A4F9CAA-2A57-464A-9AA9-F6A112AAC901}"/>
              </a:ext>
            </a:extLst>
          </p:cNvPr>
          <p:cNvCxnSpPr>
            <a:cxnSpLocks/>
          </p:cNvCxnSpPr>
          <p:nvPr/>
        </p:nvCxnSpPr>
        <p:spPr bwMode="auto">
          <a:xfrm>
            <a:off x="6534022" y="1366879"/>
            <a:ext cx="4656923" cy="0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ktangel 19">
            <a:extLst>
              <a:ext uri="{FF2B5EF4-FFF2-40B4-BE49-F238E27FC236}">
                <a16:creationId xmlns:a16="http://schemas.microsoft.com/office/drawing/2014/main" id="{E1FFBA7D-CD47-4655-9DD4-999816FC5673}"/>
              </a:ext>
            </a:extLst>
          </p:cNvPr>
          <p:cNvSpPr/>
          <p:nvPr/>
        </p:nvSpPr>
        <p:spPr>
          <a:xfrm>
            <a:off x="6698926" y="1674656"/>
            <a:ext cx="4327109" cy="176971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s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 different data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int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lvl="1" indent="-1778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th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ard &amp; soft data</a:t>
            </a:r>
          </a:p>
          <a:p>
            <a:pPr marL="177800" lvl="1" indent="-1778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ntries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lvl="1" indent="-1778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 WTG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liers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lvl="1" indent="-1778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ecte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ween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ear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08 – 2020</a:t>
            </a:r>
          </a:p>
        </p:txBody>
      </p:sp>
      <p:sp>
        <p:nvSpPr>
          <p:cNvPr id="21" name="Title 7">
            <a:extLst>
              <a:ext uri="{FF2B5EF4-FFF2-40B4-BE49-F238E27FC236}">
                <a16:creationId xmlns:a16="http://schemas.microsoft.com/office/drawing/2014/main" id="{F8FD9EA1-3F4D-424D-ACF5-46EB17371D00}"/>
              </a:ext>
            </a:extLst>
          </p:cNvPr>
          <p:cNvSpPr txBox="1">
            <a:spLocks/>
          </p:cNvSpPr>
          <p:nvPr/>
        </p:nvSpPr>
        <p:spPr bwMode="auto">
          <a:xfrm>
            <a:off x="452967" y="119311"/>
            <a:ext cx="995166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scription</a:t>
            </a:r>
            <a: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400" b="1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of</a:t>
            </a:r>
            <a: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data </a:t>
            </a:r>
            <a:r>
              <a:rPr kumimoji="0" lang="sv-SE" sz="2400" b="1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ollected</a:t>
            </a:r>
            <a:b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”Small”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but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informative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ataset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from OX2’s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oject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portfolio</a:t>
            </a:r>
            <a:endParaRPr kumimoji="0" lang="sv-SE" sz="2400" b="1" i="0" u="none" strike="noStrike" kern="0" cap="none" spc="0" normalizeH="0" baseline="0" noProof="0" dirty="0">
              <a:ln>
                <a:noFill/>
              </a:ln>
              <a:solidFill>
                <a:srgbClr val="829AA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16" name="Grupp 15">
            <a:extLst>
              <a:ext uri="{FF2B5EF4-FFF2-40B4-BE49-F238E27FC236}">
                <a16:creationId xmlns:a16="http://schemas.microsoft.com/office/drawing/2014/main" id="{EB754297-60A6-44AC-A59C-73188E250C07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D5315495-4C47-4BD2-8556-41D6C1A41B57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2" name="gmail-m_-1096810548589881039gmail-m_8387661388435310548Bild 7">
              <a:extLst>
                <a:ext uri="{FF2B5EF4-FFF2-40B4-BE49-F238E27FC236}">
                  <a16:creationId xmlns:a16="http://schemas.microsoft.com/office/drawing/2014/main" id="{B96FAE6C-E62A-4B3E-BF7D-6FAA79463E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" name="Rektangel 22">
            <a:extLst>
              <a:ext uri="{FF2B5EF4-FFF2-40B4-BE49-F238E27FC236}">
                <a16:creationId xmlns:a16="http://schemas.microsoft.com/office/drawing/2014/main" id="{86956C6F-CBDA-4592-B182-012579CE4D1C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D53DFEA8-1F82-409F-9FB5-5CB63DE3F0C4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83559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CD390C8-E1AE-4BEC-A388-80551494D1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CD390C8-E1AE-4BEC-A388-80551494D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 4">
            <a:extLst>
              <a:ext uri="{FF2B5EF4-FFF2-40B4-BE49-F238E27FC236}">
                <a16:creationId xmlns:a16="http://schemas.microsoft.com/office/drawing/2014/main" id="{D4C605D7-F19D-476A-B914-00A42413E9F1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A7C4D210-C80A-496E-AF00-D3374FD65FE6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" name="gmail-m_-1096810548589881039gmail-m_8387661388435310548Bild 7">
              <a:extLst>
                <a:ext uri="{FF2B5EF4-FFF2-40B4-BE49-F238E27FC236}">
                  <a16:creationId xmlns:a16="http://schemas.microsoft.com/office/drawing/2014/main" id="{9917C377-D8BA-45E6-9C1F-BDCDFF67A2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7">
            <a:extLst>
              <a:ext uri="{FF2B5EF4-FFF2-40B4-BE49-F238E27FC236}">
                <a16:creationId xmlns:a16="http://schemas.microsoft.com/office/drawing/2014/main" id="{18D961C8-F1F3-42EA-A46C-C3FEB565D654}"/>
              </a:ext>
            </a:extLst>
          </p:cNvPr>
          <p:cNvSpPr txBox="1">
            <a:spLocks/>
          </p:cNvSpPr>
          <p:nvPr/>
        </p:nvSpPr>
        <p:spPr bwMode="auto">
          <a:xfrm>
            <a:off x="452967" y="119311"/>
            <a:ext cx="995166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>
                <a:latin typeface="Arial"/>
              </a:rPr>
              <a:t>RQ: A) </a:t>
            </a:r>
            <a:r>
              <a:rPr lang="en-US" sz="2400" b="1" kern="0" dirty="0">
                <a:latin typeface="Arial"/>
              </a:rPr>
              <a:t>What is OX2’s average project?</a:t>
            </a:r>
            <a:b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edium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ized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oject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veloped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in Sweden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ith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Vestas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urbines</a:t>
            </a:r>
            <a:endParaRPr kumimoji="0" lang="sv-SE" sz="2400" b="1" i="0" u="none" strike="noStrike" kern="0" cap="none" spc="0" normalizeH="0" baseline="0" noProof="0" dirty="0">
              <a:ln>
                <a:noFill/>
              </a:ln>
              <a:solidFill>
                <a:srgbClr val="829AA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9606311E-1308-42B3-9A41-2898E68A592A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1" name="Bildobjekt 30" descr="En bild som visar objekt, utomhus, gräs, väderkvarn&#10;&#10;Automatiskt genererad beskrivning">
            <a:extLst>
              <a:ext uri="{FF2B5EF4-FFF2-40B4-BE49-F238E27FC236}">
                <a16:creationId xmlns:a16="http://schemas.microsoft.com/office/drawing/2014/main" id="{70915829-FF23-450D-9074-64381542D0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7562625" y="1858891"/>
            <a:ext cx="3925273" cy="3140218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56F0B498-7DDC-4A05-B0BF-09B1D1F79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17" y="3605961"/>
            <a:ext cx="3137829" cy="209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Tabell 2">
            <a:extLst>
              <a:ext uri="{FF2B5EF4-FFF2-40B4-BE49-F238E27FC236}">
                <a16:creationId xmlns:a16="http://schemas.microsoft.com/office/drawing/2014/main" id="{15239104-AC4A-4F4B-989F-2B47EC41D2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095628"/>
              </p:ext>
            </p:extLst>
          </p:nvPr>
        </p:nvGraphicFramePr>
        <p:xfrm>
          <a:off x="809626" y="1651000"/>
          <a:ext cx="5565404" cy="14833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857499">
                  <a:extLst>
                    <a:ext uri="{9D8B030D-6E8A-4147-A177-3AD203B41FA5}">
                      <a16:colId xmlns:a16="http://schemas.microsoft.com/office/drawing/2014/main" val="1560620578"/>
                    </a:ext>
                  </a:extLst>
                </a:gridCol>
                <a:gridCol w="2707905">
                  <a:extLst>
                    <a:ext uri="{9D8B030D-6E8A-4147-A177-3AD203B41FA5}">
                      <a16:colId xmlns:a16="http://schemas.microsoft.com/office/drawing/2014/main" val="6232921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v-SE" sz="1400" b="0" dirty="0"/>
                        <a:t>Avg. </a:t>
                      </a:r>
                      <a:r>
                        <a:rPr lang="sv-SE" sz="1400" b="0" dirty="0" err="1"/>
                        <a:t>size</a:t>
                      </a:r>
                      <a:r>
                        <a:rPr lang="sv-SE" sz="1400" b="0" dirty="0"/>
                        <a:t> </a:t>
                      </a:r>
                      <a:r>
                        <a:rPr lang="sv-SE" sz="1400" b="0" dirty="0" err="1"/>
                        <a:t>of</a:t>
                      </a:r>
                      <a:r>
                        <a:rPr lang="sv-SE" sz="1400" b="0" dirty="0"/>
                        <a:t> WT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i="0" dirty="0"/>
                        <a:t>4 M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883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v-SE" sz="1400" b="0" dirty="0"/>
                        <a:t>Avg. # </a:t>
                      </a:r>
                      <a:r>
                        <a:rPr lang="sv-SE" sz="1400" b="0" dirty="0" err="1"/>
                        <a:t>of</a:t>
                      </a:r>
                      <a:r>
                        <a:rPr lang="sv-SE" sz="1400" b="0" dirty="0"/>
                        <a:t> WT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i="0" dirty="0"/>
                        <a:t>14 </a:t>
                      </a:r>
                      <a:r>
                        <a:rPr lang="sv-SE" sz="1400" b="1" i="0" dirty="0" err="1"/>
                        <a:t>turbines</a:t>
                      </a:r>
                      <a:endParaRPr lang="sv-SE" sz="1400" b="1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1139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v-SE" sz="1400" b="0" dirty="0"/>
                        <a:t>Avg. </a:t>
                      </a:r>
                      <a:r>
                        <a:rPr lang="sv-SE" sz="1400" b="0" dirty="0" err="1"/>
                        <a:t>annual</a:t>
                      </a:r>
                      <a:r>
                        <a:rPr lang="sv-SE" sz="1400" b="0" dirty="0"/>
                        <a:t> </a:t>
                      </a:r>
                      <a:r>
                        <a:rPr lang="sv-SE" sz="1400" b="0" dirty="0" err="1"/>
                        <a:t>prod</a:t>
                      </a:r>
                      <a:r>
                        <a:rPr lang="sv-SE" sz="1400" b="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i="0" dirty="0"/>
                        <a:t>161 G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29080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v-SE" sz="1400" b="0" dirty="0"/>
                        <a:t>Avg. Total </a:t>
                      </a:r>
                      <a:r>
                        <a:rPr lang="sv-SE" sz="1400" b="0" dirty="0" err="1"/>
                        <a:t>height</a:t>
                      </a:r>
                      <a:endParaRPr lang="sv-SE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i="0" dirty="0"/>
                        <a:t>170 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2550692"/>
                  </a:ext>
                </a:extLst>
              </a:tr>
            </a:tbl>
          </a:graphicData>
        </a:graphic>
      </p:graphicFrame>
      <p:pic>
        <p:nvPicPr>
          <p:cNvPr id="3" name="Bildobjekt 2">
            <a:extLst>
              <a:ext uri="{FF2B5EF4-FFF2-40B4-BE49-F238E27FC236}">
                <a16:creationId xmlns:a16="http://schemas.microsoft.com/office/drawing/2014/main" id="{1ADE16B0-AF0A-49D1-B667-9FC23EE3C58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08080" y="3350508"/>
            <a:ext cx="2200275" cy="2352675"/>
          </a:xfrm>
          <a:prstGeom prst="rect">
            <a:avLst/>
          </a:prstGeom>
        </p:spPr>
      </p:pic>
      <p:sp>
        <p:nvSpPr>
          <p:cNvPr id="14" name="Rektangel 13">
            <a:extLst>
              <a:ext uri="{FF2B5EF4-FFF2-40B4-BE49-F238E27FC236}">
                <a16:creationId xmlns:a16="http://schemas.microsoft.com/office/drawing/2014/main" id="{557C807C-F072-4278-BBC5-2F47714BD114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28295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F919143-FA6B-4E34-8F1E-380A7365CC76}"/>
              </a:ext>
            </a:extLst>
          </p:cNvPr>
          <p:cNvSpPr/>
          <p:nvPr/>
        </p:nvSpPr>
        <p:spPr bwMode="auto">
          <a:xfrm>
            <a:off x="798359" y="1424796"/>
            <a:ext cx="10595282" cy="27614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671469F4-B485-40A1-AE49-0B7DABAA9232}"/>
              </a:ext>
            </a:extLst>
          </p:cNvPr>
          <p:cNvSpPr txBox="1">
            <a:spLocks/>
          </p:cNvSpPr>
          <p:nvPr/>
        </p:nvSpPr>
        <p:spPr bwMode="auto">
          <a:xfrm>
            <a:off x="452966" y="119311"/>
            <a:ext cx="1173903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>
                <a:latin typeface="Arial"/>
              </a:rPr>
              <a:t>RQ: B) OX2’s </a:t>
            </a:r>
            <a:r>
              <a:rPr lang="sv-SE" sz="2400" b="1" kern="0" dirty="0" err="1">
                <a:latin typeface="Arial"/>
              </a:rPr>
              <a:t>production</a:t>
            </a:r>
            <a:r>
              <a:rPr lang="sv-SE" sz="2400" b="1" kern="0" dirty="0">
                <a:latin typeface="Arial"/>
              </a:rPr>
              <a:t> </a:t>
            </a:r>
            <a:r>
              <a:rPr lang="sv-SE" sz="2400" b="1" kern="0" dirty="0" err="1">
                <a:latin typeface="Arial"/>
              </a:rPr>
              <a:t>development</a:t>
            </a:r>
            <a:r>
              <a:rPr lang="sv-SE" sz="2400" b="1" kern="0" dirty="0">
                <a:latin typeface="Arial"/>
              </a:rPr>
              <a:t> for </a:t>
            </a:r>
            <a:r>
              <a:rPr lang="sv-SE" sz="2400" b="1" kern="0" dirty="0" err="1">
                <a:latin typeface="Arial"/>
              </a:rPr>
              <a:t>wind</a:t>
            </a:r>
            <a:r>
              <a:rPr lang="sv-SE" sz="2400" b="1" kern="0" dirty="0">
                <a:latin typeface="Arial"/>
              </a:rPr>
              <a:t> </a:t>
            </a:r>
            <a:r>
              <a:rPr lang="sv-SE" sz="2400" b="1" kern="0" dirty="0" err="1">
                <a:latin typeface="Arial"/>
              </a:rPr>
              <a:t>power</a:t>
            </a:r>
            <a:r>
              <a:rPr lang="sv-SE" sz="2400" b="1" kern="0" dirty="0">
                <a:latin typeface="Arial"/>
              </a:rPr>
              <a:t> </a:t>
            </a:r>
            <a:r>
              <a:rPr lang="sv-SE" sz="2400" b="1" kern="0" dirty="0" err="1">
                <a:latin typeface="Arial"/>
              </a:rPr>
              <a:t>projects</a:t>
            </a:r>
            <a:r>
              <a:rPr lang="en-US" sz="2400" b="1" kern="0" dirty="0">
                <a:latin typeface="Arial"/>
              </a:rPr>
              <a:t>?</a:t>
            </a:r>
            <a:b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OX2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have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veloped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higher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and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ore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ffective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urbines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,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hich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increase</a:t>
            </a: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oduction</a:t>
            </a:r>
            <a:endParaRPr kumimoji="0" lang="sv-SE" sz="2400" b="1" i="0" u="none" strike="noStrike" kern="0" cap="none" spc="0" normalizeH="0" baseline="0" noProof="0" dirty="0">
              <a:ln>
                <a:noFill/>
              </a:ln>
              <a:solidFill>
                <a:srgbClr val="829AA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5" name="Grupp 4">
            <a:extLst>
              <a:ext uri="{FF2B5EF4-FFF2-40B4-BE49-F238E27FC236}">
                <a16:creationId xmlns:a16="http://schemas.microsoft.com/office/drawing/2014/main" id="{87663C51-E6C9-4CC0-BB55-B3B7E1D86A7C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3A2520A3-5B43-4D10-8040-9A70A413C0CC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" name="gmail-m_-1096810548589881039gmail-m_8387661388435310548Bild 7">
              <a:extLst>
                <a:ext uri="{FF2B5EF4-FFF2-40B4-BE49-F238E27FC236}">
                  <a16:creationId xmlns:a16="http://schemas.microsoft.com/office/drawing/2014/main" id="{136ADAC2-88DA-4E3C-AE4C-58EB350506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Rektangel 7">
            <a:extLst>
              <a:ext uri="{FF2B5EF4-FFF2-40B4-BE49-F238E27FC236}">
                <a16:creationId xmlns:a16="http://schemas.microsoft.com/office/drawing/2014/main" id="{0C5F0265-FCBC-4A7B-8EA0-A6E455BA4938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EC5F6FF0-89B0-4CC4-91B5-99E854FBB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84" y="1510098"/>
            <a:ext cx="2590800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646D720E-426B-463B-AEA4-2EABCF7B26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429" y="1510098"/>
            <a:ext cx="2590800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EB19ED1E-C58D-42C1-8CA1-1F39441A38A4}"/>
              </a:ext>
            </a:extLst>
          </p:cNvPr>
          <p:cNvSpPr/>
          <p:nvPr/>
        </p:nvSpPr>
        <p:spPr>
          <a:xfrm>
            <a:off x="2234402" y="4475164"/>
            <a:ext cx="8176160" cy="10777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7800" marR="0" lvl="1" indent="-177800" algn="l" defTabSz="914400" rtl="0" eaLnBrk="1" fontAlgn="auto" latinLnBrk="0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e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em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be </a:t>
            </a:r>
            <a:r>
              <a:rPr kumimoji="0" lang="sv-SE" sz="1600" b="1" i="0" u="sng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trend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ze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d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nd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wer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s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7800" marR="0" lvl="1" indent="-177800" algn="l" defTabSz="914400" rtl="0" eaLnBrk="1" fontAlgn="auto" latinLnBrk="0" hangingPunct="1">
              <a:lnSpc>
                <a:spcPct val="2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X2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ed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nd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wer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s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er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”Total </a:t>
            </a:r>
            <a:r>
              <a:rPr lang="sv-SE" sz="16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ight</a:t>
            </a:r>
            <a:r>
              <a:rPr lang="sv-SE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.</a:t>
            </a: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33922FFA-AB63-470B-89BF-BADF3D90A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340" y="1661757"/>
            <a:ext cx="3143231" cy="2287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D100FD4C-9E0F-45A6-8CDF-D8D7D0F09437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96335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ktangel 16">
            <a:extLst>
              <a:ext uri="{FF2B5EF4-FFF2-40B4-BE49-F238E27FC236}">
                <a16:creationId xmlns:a16="http://schemas.microsoft.com/office/drawing/2014/main" id="{9C6603A5-BEE0-4407-82E9-765B90D1C28C}"/>
              </a:ext>
            </a:extLst>
          </p:cNvPr>
          <p:cNvSpPr/>
          <p:nvPr/>
        </p:nvSpPr>
        <p:spPr bwMode="auto">
          <a:xfrm>
            <a:off x="6567055" y="2045444"/>
            <a:ext cx="5261461" cy="27614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27031759-BBB6-4C55-B213-E7049EF1A36A}"/>
              </a:ext>
            </a:extLst>
          </p:cNvPr>
          <p:cNvSpPr txBox="1">
            <a:spLocks/>
          </p:cNvSpPr>
          <p:nvPr/>
        </p:nvSpPr>
        <p:spPr bwMode="auto">
          <a:xfrm>
            <a:off x="452966" y="119311"/>
            <a:ext cx="1173903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>
                <a:latin typeface="Arial"/>
              </a:rPr>
              <a:t>RQ: C) </a:t>
            </a:r>
            <a:r>
              <a:rPr lang="en-US" sz="2400" b="1" kern="0" dirty="0">
                <a:latin typeface="Arial"/>
              </a:rPr>
              <a:t>Does OX2 have a preferred turbine supplier?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Vestas is </a:t>
            </a:r>
            <a:r>
              <a:rPr kumimoji="0" lang="sv-SE" sz="2000" b="0" i="0" u="none" strike="noStrike" kern="0" cap="none" spc="0" normalizeH="0" baseline="0" noProof="0" dirty="0" err="1">
                <a:ln>
                  <a:noFill/>
                </a:ln>
                <a:solidFill>
                  <a:srgbClr val="829AA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h</a:t>
            </a:r>
            <a:r>
              <a:rPr lang="sv-SE" sz="2000" kern="0" dirty="0">
                <a:latin typeface="Arial"/>
              </a:rPr>
              <a:t>e </a:t>
            </a:r>
            <a:r>
              <a:rPr lang="sv-SE" sz="2000" kern="0" dirty="0" err="1">
                <a:latin typeface="Arial"/>
              </a:rPr>
              <a:t>preferred</a:t>
            </a:r>
            <a:r>
              <a:rPr lang="sv-SE" sz="2000" kern="0" dirty="0">
                <a:latin typeface="Arial"/>
              </a:rPr>
              <a:t> </a:t>
            </a:r>
            <a:r>
              <a:rPr lang="sv-SE" sz="2000" kern="0" dirty="0" err="1">
                <a:latin typeface="Arial"/>
              </a:rPr>
              <a:t>turbine</a:t>
            </a:r>
            <a:r>
              <a:rPr lang="sv-SE" sz="2000" kern="0" dirty="0">
                <a:latin typeface="Arial"/>
              </a:rPr>
              <a:t> </a:t>
            </a:r>
            <a:r>
              <a:rPr lang="sv-SE" sz="2000" kern="0" dirty="0" err="1">
                <a:latin typeface="Arial"/>
              </a:rPr>
              <a:t>supplier</a:t>
            </a:r>
            <a:endParaRPr kumimoji="0" lang="sv-SE" sz="2400" b="1" i="0" u="none" strike="noStrike" kern="0" cap="none" spc="0" normalizeH="0" baseline="0" noProof="0" dirty="0">
              <a:ln>
                <a:noFill/>
              </a:ln>
              <a:solidFill>
                <a:srgbClr val="829AA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3" name="Grupp 2">
            <a:extLst>
              <a:ext uri="{FF2B5EF4-FFF2-40B4-BE49-F238E27FC236}">
                <a16:creationId xmlns:a16="http://schemas.microsoft.com/office/drawing/2014/main" id="{6189B36E-99D2-4EF5-8154-AB186DAA11DA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5" name="Rektangel 4">
              <a:extLst>
                <a:ext uri="{FF2B5EF4-FFF2-40B4-BE49-F238E27FC236}">
                  <a16:creationId xmlns:a16="http://schemas.microsoft.com/office/drawing/2014/main" id="{8B430CCE-67ED-4D5F-BA7C-A2545F1608B7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" name="gmail-m_-1096810548589881039gmail-m_8387661388435310548Bild 7">
              <a:extLst>
                <a:ext uri="{FF2B5EF4-FFF2-40B4-BE49-F238E27FC236}">
                  <a16:creationId xmlns:a16="http://schemas.microsoft.com/office/drawing/2014/main" id="{E51BB207-1836-47BA-A8D7-CCB6FC2497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ktangel 6">
            <a:extLst>
              <a:ext uri="{FF2B5EF4-FFF2-40B4-BE49-F238E27FC236}">
                <a16:creationId xmlns:a16="http://schemas.microsoft.com/office/drawing/2014/main" id="{A6F99DD2-3A05-4F0B-ACD5-D7A540751BDD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7F84DFFA-E5CA-471D-8C46-225FFE30620D}"/>
              </a:ext>
            </a:extLst>
          </p:cNvPr>
          <p:cNvSpPr/>
          <p:nvPr/>
        </p:nvSpPr>
        <p:spPr>
          <a:xfrm>
            <a:off x="6712528" y="2571001"/>
            <a:ext cx="5067300" cy="16778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X2 has chosen both Vestas &amp; Nordex for </a:t>
            </a:r>
            <a:br>
              <a:rPr lang="en-US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nd power projects with high “Total height”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stas is the most frequent chosen supplier</a:t>
            </a: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stas is not size (No of turbines) dependent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AD29FC2D-17B2-4F0E-86AF-40C5C0FF1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150" y="1083331"/>
            <a:ext cx="5067300" cy="2554589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F8F15874-F43D-4980-A899-601CDA9892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898"/>
          <a:stretch/>
        </p:blipFill>
        <p:spPr>
          <a:xfrm>
            <a:off x="1171575" y="3409949"/>
            <a:ext cx="5067300" cy="2403923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84040C6C-59DC-4A13-9549-5F84AA834C07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6765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7">
            <a:extLst>
              <a:ext uri="{FF2B5EF4-FFF2-40B4-BE49-F238E27FC236}">
                <a16:creationId xmlns:a16="http://schemas.microsoft.com/office/drawing/2014/main" id="{9B60D39F-3080-4FEC-AC27-36DE90097149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8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>
                <a:latin typeface="Arial"/>
              </a:rPr>
              <a:t>Challenges | Learnings | </a:t>
            </a:r>
            <a:r>
              <a:rPr lang="sv-SE" sz="2400" b="1" kern="0" dirty="0" err="1">
                <a:latin typeface="Arial"/>
              </a:rPr>
              <a:t>Improvements</a:t>
            </a:r>
            <a:endParaRPr lang="en-US" sz="2400" b="1" kern="0" dirty="0">
              <a:latin typeface="Arial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751382E5-F3B8-4C07-B90B-9CEEC39770CE}"/>
              </a:ext>
            </a:extLst>
          </p:cNvPr>
          <p:cNvSpPr/>
          <p:nvPr/>
        </p:nvSpPr>
        <p:spPr bwMode="auto">
          <a:xfrm>
            <a:off x="1738914" y="1344259"/>
            <a:ext cx="1775811" cy="89255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6FA1716-4D56-4208-849D-B20DA9A86ADC}"/>
              </a:ext>
            </a:extLst>
          </p:cNvPr>
          <p:cNvSpPr/>
          <p:nvPr/>
        </p:nvSpPr>
        <p:spPr bwMode="auto">
          <a:xfrm>
            <a:off x="1738914" y="2710423"/>
            <a:ext cx="1775811" cy="147732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s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CF06BA90-E9FC-49D8-9337-8FFC54469055}"/>
              </a:ext>
            </a:extLst>
          </p:cNvPr>
          <p:cNvSpPr/>
          <p:nvPr/>
        </p:nvSpPr>
        <p:spPr bwMode="auto">
          <a:xfrm>
            <a:off x="1738913" y="4705755"/>
            <a:ext cx="1775811" cy="89255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ments</a:t>
            </a:r>
            <a:endParaRPr kumimoji="0" lang="sv-S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59780E4D-78F7-4245-A512-4798683831F9}"/>
              </a:ext>
            </a:extLst>
          </p:cNvPr>
          <p:cNvSpPr/>
          <p:nvPr/>
        </p:nvSpPr>
        <p:spPr>
          <a:xfrm>
            <a:off x="3894668" y="1382731"/>
            <a:ext cx="6763807" cy="81560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t">
            <a:spAutoFit/>
          </a:bodyPr>
          <a:lstStyle/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bpage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t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s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aped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 to b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r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fficult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ap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ich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ed to a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aller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set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n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nde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om th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ginning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point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ach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ffere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 bit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ween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C16DBCDA-3D9C-4461-8407-C9F91F732022}"/>
              </a:ext>
            </a:extLst>
          </p:cNvPr>
          <p:cNvSpPr/>
          <p:nvPr/>
        </p:nvSpPr>
        <p:spPr>
          <a:xfrm>
            <a:off x="3894668" y="2710424"/>
            <a:ext cx="6763807" cy="147732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t">
            <a:spAutoFit/>
          </a:bodyPr>
          <a:lstStyle/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in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arning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bscraping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y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ing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lenium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Beautiful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p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bpag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quire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veral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tion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for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aping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sibl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lvl="2" indent="-2857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op-down lists</a:t>
            </a:r>
          </a:p>
          <a:p>
            <a:pPr marL="742950" lvl="2" indent="-2857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oll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2" indent="-2857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tton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a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r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list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72DD69EA-9A0A-4E37-AA1F-479EC01A846F}"/>
              </a:ext>
            </a:extLst>
          </p:cNvPr>
          <p:cNvSpPr/>
          <p:nvPr/>
        </p:nvSpPr>
        <p:spPr>
          <a:xfrm>
            <a:off x="3894668" y="4705755"/>
            <a:ext cx="6763807" cy="89255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t">
            <a:spAutoFit/>
          </a:bodyPr>
          <a:lstStyle/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r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ment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ge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l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en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ape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sed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2" indent="-2857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d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s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licabl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though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m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arse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r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etitors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ul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ed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</a:t>
            </a:r>
            <a:r>
              <a:rPr lang="sv-SE" sz="14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</a:t>
            </a:r>
            <a:r>
              <a:rPr lang="sv-SE" sz="1400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set</a:t>
            </a:r>
            <a:endParaRPr lang="sv-SE" sz="14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1" name="Grupp 20">
            <a:extLst>
              <a:ext uri="{FF2B5EF4-FFF2-40B4-BE49-F238E27FC236}">
                <a16:creationId xmlns:a16="http://schemas.microsoft.com/office/drawing/2014/main" id="{22739270-715A-47FD-85F7-5C1AD6394EEE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90C09061-66D8-4D55-9D01-D410695F9748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3" name="gmail-m_-1096810548589881039gmail-m_8387661388435310548Bild 7">
              <a:extLst>
                <a:ext uri="{FF2B5EF4-FFF2-40B4-BE49-F238E27FC236}">
                  <a16:creationId xmlns:a16="http://schemas.microsoft.com/office/drawing/2014/main" id="{D894411E-F433-4B13-8920-9D0F754524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Rektangel 23">
            <a:extLst>
              <a:ext uri="{FF2B5EF4-FFF2-40B4-BE49-F238E27FC236}">
                <a16:creationId xmlns:a16="http://schemas.microsoft.com/office/drawing/2014/main" id="{E5570B78-7BCD-43BE-BEBB-5AEFEBFB5846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6FF00F99-88C3-408D-851F-5FBC70ECBB07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646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_01Scu.x9QCjqVsDJ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RKAB layout 2017">
  <a:themeElements>
    <a:clrScheme name="Rabbalshede Kraft">
      <a:dk1>
        <a:srgbClr val="000000"/>
      </a:dk1>
      <a:lt1>
        <a:srgbClr val="FFFFFF"/>
      </a:lt1>
      <a:dk2>
        <a:srgbClr val="EA9314"/>
      </a:dk2>
      <a:lt2>
        <a:srgbClr val="829AAE"/>
      </a:lt2>
      <a:accent1>
        <a:srgbClr val="829AAE"/>
      </a:accent1>
      <a:accent2>
        <a:srgbClr val="EA9314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829AAE"/>
      </a:hlink>
      <a:folHlink>
        <a:srgbClr val="FFFF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>
          <a:noFill/>
          <a:miter lim="800000"/>
          <a:headEnd/>
          <a:tailEnd/>
        </a:ln>
      </a:spPr>
      <a:bodyPr wrap="none" anchor="ctr"/>
      <a:lstStyle>
        <a:defPPr>
          <a:spcBef>
            <a:spcPct val="50000"/>
          </a:spcBef>
          <a:defRPr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it bakgr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3">
        <a:dk1>
          <a:srgbClr val="000000"/>
        </a:dk1>
        <a:lt1>
          <a:srgbClr val="FFFFFF"/>
        </a:lt1>
        <a:dk2>
          <a:srgbClr val="7694B9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000000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4">
        <a:dk1>
          <a:srgbClr val="FFFFFF"/>
        </a:dk1>
        <a:lt1>
          <a:srgbClr val="FFFFFF"/>
        </a:lt1>
        <a:dk2>
          <a:srgbClr val="FFFFFF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DADADA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5">
        <a:dk1>
          <a:srgbClr val="FFFFFF"/>
        </a:dk1>
        <a:lt1>
          <a:srgbClr val="FFFFFF"/>
        </a:lt1>
        <a:dk2>
          <a:srgbClr val="FFFFFF"/>
        </a:dk2>
        <a:lt2>
          <a:srgbClr val="808080"/>
        </a:lt2>
        <a:accent1>
          <a:srgbClr val="7694B9"/>
        </a:accent1>
        <a:accent2>
          <a:srgbClr val="7694B9"/>
        </a:accent2>
        <a:accent3>
          <a:srgbClr val="FFFFFF"/>
        </a:accent3>
        <a:accent4>
          <a:srgbClr val="DADADA"/>
        </a:accent4>
        <a:accent5>
          <a:srgbClr val="BDC8D9"/>
        </a:accent5>
        <a:accent6>
          <a:srgbClr val="6A86A7"/>
        </a:accent6>
        <a:hlink>
          <a:srgbClr val="D5401E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6">
        <a:dk1>
          <a:srgbClr val="000000"/>
        </a:dk1>
        <a:lt1>
          <a:srgbClr val="FFFFFF"/>
        </a:lt1>
        <a:dk2>
          <a:srgbClr val="EF7341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000000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ll PPT 2017 ny ver EA" id="{9DACD18C-B15A-4FE0-BED5-27E9878F69C9}" vid="{5EFA3FC4-2547-4F97-AA8A-3C475B285C46}"/>
    </a:ext>
  </a:extLst>
</a:theme>
</file>

<file path=ppt/theme/theme2.xml><?xml version="1.0" encoding="utf-8"?>
<a:theme xmlns:a="http://schemas.openxmlformats.org/drawingml/2006/main" name="Anpassad formgivning">
  <a:themeElements>
    <a:clrScheme name="RK Grö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AAAA1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0</TotalTime>
  <Words>427</Words>
  <Application>Microsoft Office PowerPoint</Application>
  <PresentationFormat>Bredbild</PresentationFormat>
  <Paragraphs>61</Paragraphs>
  <Slides>7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10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20" baseType="lpstr">
      <vt:lpstr>Arial</vt:lpstr>
      <vt:lpstr>Arial Black</vt:lpstr>
      <vt:lpstr>Calibri</vt:lpstr>
      <vt:lpstr>Courier New</vt:lpstr>
      <vt:lpstr>Gilroy</vt:lpstr>
      <vt:lpstr>Gilroy ExtraBold</vt:lpstr>
      <vt:lpstr>PT Sans</vt:lpstr>
      <vt:lpstr>Replica LL</vt:lpstr>
      <vt:lpstr>Replica LL Light</vt:lpstr>
      <vt:lpstr>Replica Pro Light</vt:lpstr>
      <vt:lpstr>5_RKAB layout 2017</vt:lpstr>
      <vt:lpstr>Anpassad formgivning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Robin Falconer</dc:creator>
  <cp:lastModifiedBy>Robin Falconer</cp:lastModifiedBy>
  <cp:revision>1</cp:revision>
  <dcterms:created xsi:type="dcterms:W3CDTF">2021-08-16T12:19:44Z</dcterms:created>
  <dcterms:modified xsi:type="dcterms:W3CDTF">2021-08-17T13:55:49Z</dcterms:modified>
</cp:coreProperties>
</file>